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  <p:sldMasterId id="2147483673" r:id="rId3"/>
    <p:sldMasterId id="2147483696" r:id="rId4"/>
  </p:sldMasterIdLst>
  <p:notesMasterIdLst>
    <p:notesMasterId r:id="rId25"/>
  </p:notesMasterIdLst>
  <p:handoutMasterIdLst>
    <p:handoutMasterId r:id="rId26"/>
  </p:handoutMasterIdLst>
  <p:sldIdLst>
    <p:sldId id="375" r:id="rId5"/>
    <p:sldId id="2145706923" r:id="rId6"/>
    <p:sldId id="2145706916" r:id="rId7"/>
    <p:sldId id="2145706902" r:id="rId8"/>
    <p:sldId id="2145706900" r:id="rId9"/>
    <p:sldId id="2145706894" r:id="rId10"/>
    <p:sldId id="275" r:id="rId11"/>
    <p:sldId id="276" r:id="rId12"/>
    <p:sldId id="277" r:id="rId13"/>
    <p:sldId id="2145706890" r:id="rId14"/>
    <p:sldId id="2145706934" r:id="rId15"/>
    <p:sldId id="2145706892" r:id="rId16"/>
    <p:sldId id="2145706910" r:id="rId17"/>
    <p:sldId id="2145706911" r:id="rId18"/>
    <p:sldId id="2145706909" r:id="rId19"/>
    <p:sldId id="2145706932" r:id="rId20"/>
    <p:sldId id="2145706933" r:id="rId21"/>
    <p:sldId id="300" r:id="rId22"/>
    <p:sldId id="2145706885" r:id="rId23"/>
    <p:sldId id="2145706906" r:id="rId2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 " lastIdx="1" clrIdx="0"/>
  <p:cmAuthor id="1" name="Karen" initials="K" lastIdx="2" clrIdx="1"/>
  <p:cmAuthor id="2" name="Stetler, Katie (DPH)" initials="SK(" lastIdx="5" clrIdx="2"/>
  <p:cmAuthor id="3" name="Wood, Ben (DPH)" initials="WB(" lastIdx="6" clrIdx="3"/>
  <p:cmAuthor id="4" name="Tamar Kaim Doniger" initials="TKD" lastIdx="2" clrIdx="4">
    <p:extLst>
      <p:ext uri="{19B8F6BF-5375-455C-9EA6-DF929625EA0E}">
        <p15:presenceInfo xmlns:p15="http://schemas.microsoft.com/office/powerpoint/2012/main" userId="S-1-5-21-2112347821-1497617604-1846162354-269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6BB"/>
    <a:srgbClr val="01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4078" autoAdjust="0"/>
    <p:restoredTop sz="75416" autoAdjust="0"/>
  </p:normalViewPr>
  <p:slideViewPr>
    <p:cSldViewPr snapToGrid="0" snapToObjects="1">
      <p:cViewPr varScale="1">
        <p:scale>
          <a:sx n="66" d="100"/>
          <a:sy n="66" d="100"/>
        </p:scale>
        <p:origin x="2016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90" d="100"/>
        <a:sy n="90" d="100"/>
      </p:scale>
      <p:origin x="0" y="1452"/>
    </p:cViewPr>
  </p:sorterViewPr>
  <p:notesViewPr>
    <p:cSldViewPr snapToGrid="0" snapToObjects="1">
      <p:cViewPr varScale="1">
        <p:scale>
          <a:sx n="68" d="100"/>
          <a:sy n="68" d="100"/>
        </p:scale>
        <p:origin x="-3306" y="-12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3EE6C5-4F47-4445-8BCE-B8BE9FB65DE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A8D0D6-5496-4D9E-81CA-3E43FBC8E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02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A6C4BF5-E566-BD4E-BF84-8EF979555B2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34CBBDB-52D0-FE4C-8729-D7393D454E1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hcp/conversations/understanding-vacc-work.html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cdc.gov/vaccines/vpd/vpd-vac-basics.html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67"/>
              </a:lnSpc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  <a:endParaRPr lang="km-KH" dirty="0" smtClean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67"/>
              </a:lnSpc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	</a:t>
            </a:r>
          </a:p>
          <a:p>
            <a:pPr>
              <a:lnSpc>
                <a:spcPts val="1867"/>
              </a:lnSpc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បច្ចុប្បន្នភាពសំខាន់ តាំង​ពីកំណែប្រែមុន (កាលបរិច្ឆេទ</a:t>
            </a:r>
            <a:r>
              <a:rPr lang="km-KH" baseline="0" dirty="0" smtClean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en-US" baseline="0" dirty="0" smtClean="0">
                <a:latin typeface="Kh Content" panose="02000500000000020004" pitchFamily="2" charset="0"/>
                <a:cs typeface="Kh Content" panose="02000500000000020004" pitchFamily="2" charset="0"/>
              </a:rPr>
              <a:t>1/6</a:t>
            </a: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)៖</a:t>
            </a:r>
          </a:p>
          <a:p>
            <a:pPr marL="628650" lvl="1" indent="-171450">
              <a:lnSpc>
                <a:spcPts val="1867"/>
              </a:lnSpc>
              <a:buFont typeface="Arial" panose="020B0604020202020204" pitchFamily="34" charset="0"/>
              <a:buChar char="•"/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បានធ្វើបច្ចុប្បន្នភាព​ព័ត៌មានអំពី​សិទ្ធិទទួលបានវ៉ាក់សាំង​ដូសជំរុញសម្រាប់អ្នកដែលបានទទួលវ៉ាក់សាំង </a:t>
            </a:r>
            <a:r>
              <a:rPr lang="en-US" dirty="0" err="1" smtClean="0">
                <a:latin typeface="Kh Content" panose="02000500000000020004" pitchFamily="2" charset="0"/>
                <a:cs typeface="Kh Content" panose="02000500000000020004" pitchFamily="2" charset="0"/>
              </a:rPr>
              <a:t>Moderna</a:t>
            </a: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km-KH" baseline="0" dirty="0" smtClean="0">
                <a:latin typeface="Kh Content" panose="02000500000000020004" pitchFamily="2" charset="0"/>
                <a:cs typeface="Kh Content" panose="02000500000000020004" pitchFamily="2" charset="0"/>
              </a:rPr>
              <a:t> (ស្លាយ​ </a:t>
            </a:r>
            <a:r>
              <a:rPr lang="en-US" baseline="0" dirty="0" smtClean="0">
                <a:latin typeface="Kh Content" panose="02000500000000020004" pitchFamily="2" charset="0"/>
                <a:cs typeface="Kh Content" panose="02000500000000020004" pitchFamily="2" charset="0"/>
              </a:rPr>
              <a:t>17</a:t>
            </a:r>
            <a:r>
              <a:rPr lang="km-KH" baseline="0" dirty="0" smtClean="0">
                <a:latin typeface="Kh Content" panose="02000500000000020004" pitchFamily="2" charset="0"/>
                <a:cs typeface="Kh Content" panose="02000500000000020004" pitchFamily="2" charset="0"/>
              </a:rPr>
              <a:t>)</a:t>
            </a:r>
            <a:endParaRPr lang="km-KH" dirty="0" smtClean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67"/>
              </a:lnSpc>
            </a:pPr>
            <a:endParaRPr lang="en-US" dirty="0" smtClean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endParaRPr lang="k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12542541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m-KH" b="0" i="0" u="none" baseline="0" dirty="0" smtClean="0">
              <a:solidFill>
                <a:srgbClr val="000000"/>
              </a:solidFill>
              <a:effectLst/>
              <a:latin typeface="Khmer OS System" panose="02000500000000020004" pitchFamily="2" charset="0"/>
              <a:ea typeface="Open Sans" panose="020B0606030504020204" pitchFamily="34" charset="0"/>
              <a:cs typeface="Khmer OS System" panose="02000500000000020004" pitchFamily="2" charset="0"/>
              <a:sym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" b="0" i="0" u="none" baseline="0" dirty="0" smtClean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ប្រសិនបើ</a:t>
            </a:r>
            <a:r>
              <a:rPr lang="km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កូនរបស់អ្នក​មាន​ប្រតិកម្មអាលែកហ្ស៊ីធ្ងន់ធ្ងរ​ក្រោយ​ពេល​ទទួល​វ៉ាក់សាំង​ជំងឺ​ COVID-19 អ្នកផ្តល់វ៉ាក់សាំងអាច​ផ្តល់ការថែទាំ​ភ្លាមៗ​ និង​ទូរសព្ទ​​​ស្វែងរកសេវា​វេជ្ជសាស្ត្រ​សង្គ្រោះបន្ទាន់ ប្រសិនបើចាំបាច់។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m" b="0" i="0" dirty="0">
              <a:solidFill>
                <a:srgbClr val="000000"/>
              </a:solidFill>
              <a:effectLst/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algn="l" rtl="0"/>
            <a:r>
              <a:rPr lang="km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សុំ​អ្នកផ្តល់សេវាថែទាំ​របស់កូនអ្នកឲ្យ​ផ្តល់​យោបល់​អំពី​ការប្រើប្រាស់​ថ្នាំ​បំបាត់​ការឈឺចាប់ដែលគ្មានជាតិអាស្ពីរីន​ និង​ជំហានផ្សេងទៀត​ដែល​អ្នក​អាច​​អនុវត្តនៅតាមផ្ទះ​ ក្រោយពេល​កូនរបស់អ្នកបានចាក់វ៉ាក់សាំង​។​ ជាទូទៅ​ ថ្នាំ​អាស្ពីរីន​</a:t>
            </a:r>
            <a:r>
              <a:rPr lang="km" b="1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មិនត្រូវបានណែនាំ​</a:t>
            </a:r>
            <a:r>
              <a:rPr lang="km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ឲ្យប្រើប្រាស់ទៅលើ​កុមារ​និង​ក្មេង​ជំទង់​ដែលមានអាយុ​តិចជាង​ 18ឆ្នាំនោះទេ​។ ការដាក់ក្រណាត់សើមត្រជាក់​នៅលើ​កន្លែង​ចាក់ថ្នាំ​ អាច​ជួយ​ដល់​អាការៈ​​មិន​ស្រួលខ្លួនបាន​​។ </a:t>
            </a:r>
          </a:p>
          <a:p>
            <a:pPr algn="l" rtl="0"/>
            <a:r>
              <a:rPr lang="km" dirty="0">
                <a:latin typeface="Khmer OS System" panose="02000500000000020004" pitchFamily="2" charset="0"/>
                <a:cs typeface="Khmer OS System" panose="02000500000000020004" pitchFamily="2" charset="0"/>
              </a:rPr>
              <a:t/>
            </a:r>
            <a:br>
              <a:rPr lang="km" dirty="0">
                <a:latin typeface="Khmer OS System" panose="02000500000000020004" pitchFamily="2" charset="0"/>
                <a:cs typeface="Khmer OS System" panose="02000500000000020004" pitchFamily="2" charset="0"/>
              </a:rPr>
            </a:br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0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40884104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" b="0" i="0" u="none" baseline="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 </a:t>
            </a:r>
          </a:p>
          <a:p>
            <a:pPr algn="l" rtl="0"/>
            <a:r>
              <a:rPr lang="km" dirty="0"/>
              <a:t/>
            </a:r>
            <a:br>
              <a:rPr lang="km" dirty="0"/>
            </a:br>
            <a:endParaRPr lang="k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1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67852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algn="l" rtl="0"/>
            <a:endParaRPr lang="km-KH" sz="1200" b="0" i="0" u="none" kern="1200" baseline="0" dirty="0" smtClean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algn="l" rtl="0"/>
            <a:r>
              <a:rPr lang="km" sz="1200" b="0" i="0" u="none" kern="1200" baseline="0" dirty="0" smtClean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ទោះបីជា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​មាន​ឱកាសតិចតួច​ដែលវ៉ាក់សាំង​ជំងឺ​ COVID-19 អាច​បង្ក​ឲ្យ​មាន​ប្រតិកម្ម​​អាលែកហ្ស៊ីធ្ងន់ធ្ងរ​ ក៏បញ្ហា​នេះ​អាច​កើត​មានជាធម្មតា​នៅក្នុង​រយៈ​ពេល​​ពីរឬបីនាទី​ទៅដល់​មួយម៉ោង​ ក្រោយ​ពេល​ទទួលវ៉ាក់សាំង​នោះ។ </a:t>
            </a:r>
          </a:p>
          <a:p>
            <a:endParaRPr lang="km" sz="120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algn="l" rtl="0"/>
            <a:r>
              <a:rPr lang="km" sz="1200" b="0" i="0" u="none" strike="noStrike" kern="1200" baseline="0" dirty="0">
                <a:solidFill>
                  <a:schemeClr val="tx1"/>
                </a:solidFill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សញ្ញា​នៃ​ប្រតិកម្ម​អាលែកហ្ស៊ី​ធ្ងន់ធ្ងរ​ អាច​រួមមាន​៖ </a:t>
            </a:r>
          </a:p>
          <a:p>
            <a:pPr algn="l" rtl="0"/>
            <a:r>
              <a:rPr lang="km" sz="1200" b="0" i="0" u="none" strike="noStrike" kern="1200" baseline="0" dirty="0">
                <a:solidFill>
                  <a:schemeClr val="tx1"/>
                </a:solidFill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• ពិបាកដកដង្ហើម​ </a:t>
            </a:r>
          </a:p>
          <a:p>
            <a:pPr algn="l" rtl="0"/>
            <a:r>
              <a:rPr lang="km" sz="1200" b="0" i="0" u="none" strike="noStrike" kern="1200" baseline="0" dirty="0">
                <a:solidFill>
                  <a:schemeClr val="tx1"/>
                </a:solidFill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• ហើមមុខនិង​បំពង់ក </a:t>
            </a:r>
          </a:p>
          <a:p>
            <a:pPr algn="l" rtl="0"/>
            <a:r>
              <a:rPr lang="km" sz="1200" b="0" i="0" u="none" strike="noStrike" kern="1200" baseline="0" dirty="0">
                <a:solidFill>
                  <a:schemeClr val="tx1"/>
                </a:solidFill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• ដកដង្ហើមញាប់​ </a:t>
            </a:r>
          </a:p>
          <a:p>
            <a:pPr algn="l" rtl="0"/>
            <a:r>
              <a:rPr lang="km" sz="1200" b="0" i="0" u="none" strike="noStrike" kern="1200" baseline="0" dirty="0">
                <a:solidFill>
                  <a:schemeClr val="tx1"/>
                </a:solidFill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• កន្ទួលរមាស់ធ្ងន់ធ្ងរ​ពេញរាងកាយ​ </a:t>
            </a:r>
          </a:p>
          <a:p>
            <a:pPr algn="l" rtl="0"/>
            <a:r>
              <a:rPr lang="km" sz="1200" b="0" i="0" u="none" strike="noStrike" kern="1200" baseline="0" dirty="0">
                <a:solidFill>
                  <a:schemeClr val="tx1"/>
                </a:solidFill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• វិលមុខ​ និង​គ្មានកម្លាំង​កំហែង​ </a:t>
            </a:r>
            <a:endParaRPr lang="km" sz="120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endParaRPr lang="km" sz="120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algn="l" rtl="0"/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ប្រសិនបើកូនរបស់អ្នក​មានប្រវត្តិធ្លាប់​កើតមានប្រតិកម្ម​អាលែកហ្ស៊ី អ្នក​ផ្តល់​វ៉ាក់សាំង​របស់ពួកគេ​អាច​សម្រាក​ឲ្យបានយូរ​ជាងនេះ​បន្តិច​នៅទីកន្លែង​ដែល​ពួកគេ​ទទួល​វ៉ាក់សាំង​ សម្រាប់ការតាមដាននាពេលបន្ទាប់​។</a:t>
            </a:r>
          </a:p>
          <a:p>
            <a:endParaRPr lang="km" sz="120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2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162828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algn="l" rtl="0"/>
            <a:endParaRPr lang="km-KH" b="0" i="0" u="none" baseline="0" dirty="0" smtClean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algn="l" rtl="0"/>
            <a:r>
              <a:rPr lang="km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ប្រភព</a:t>
            </a:r>
            <a:r>
              <a:rPr lang="km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៖ https://www.cdc.gov/coronavirus/2019-ncov/vaccines/faq-children.html</a:t>
            </a:r>
          </a:p>
          <a:p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3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32193557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algn="l" rtl="0"/>
            <a:endParaRPr lang="km-KH" sz="1200" b="0" i="0" u="none" kern="1200" spc="-50" baseline="0" dirty="0" smtClean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algn="l" rtl="0"/>
            <a:r>
              <a:rPr lang="km" sz="1200" b="0" i="0" u="none" kern="1200" spc="-50" baseline="0" dirty="0" smtClean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វ៉ា</a:t>
            </a:r>
            <a:r>
              <a:rPr lang="km" sz="1200" b="0" i="0" u="none" kern="1200" spc="-5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ក់សាំង​បង្រៀនប្រព័ន្ធភាពស៊ាំរបស់យើងពីរបៀប​ប្រយុទ្ធប្រឆាំង​នឹង​វីរុស​ជាក់លាក់​ណាមួយ។ ពួកវាដំណើរការរួមគ្នា​​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ជាមួយ​ប្រព័ន្ធការពារធម្មជាតិ​របស់រាងកាយ​អ្នក​ ដើម្បី​បង្កើតប្រព័ន្ធភាពស៊ាំ​​យ៉ាង​មាន</a:t>
            </a:r>
            <a:r>
              <a:rPr lang="km-KH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សុវត្ថិភាព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​ពីជំងឺ​ណាមួយ​។  ដើម្បី​បំពេញមុខងាររបស់ខ្លួន វ៉ាក់សាំង​ជំងឺ​ COVID-19 មិនចាំបាច់​ត្រូវចូល​ទៅក្នុងណ្វៃយ៉ូនៃ​កោសិកា ដែល​ជាកន្លែង​រក្សាទុក​ DNA របស់យើង​ទេ​។ នេះ​មានន័យ​ថា​ វ៉ាក់សាំងនោះ​មិនមានអន្តរអំពើ​ជាមួយ DNA របស់យើង​ដោយប្រការ​ណាមួយ និង​គ្មានផ្លូវ​អាច​ផ្លាស់ប្តូរ DNA នោះបានទេ​។ </a:t>
            </a:r>
          </a:p>
          <a:p>
            <a:pPr algn="l" rtl="0"/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 </a:t>
            </a:r>
          </a:p>
          <a:p>
            <a:pPr algn="l" rtl="0"/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នៅចុង​បញ្ចប់នៃ​កិច្ច​ដំណើរការ រាងកាយរបស់​យើង​បាន​ដឹង​អំពី​របៀប​ការពារ​ប្រឆាំង​នឹង​ការឆ្លង​ជំងឺ​នាពេល​អនាគត​។ ការឆ្លើយតបនៃ​ភាពស៊ាំ និង​ការបង្កើត​អង់ទីករ​ គឺជាអ្វីដែល​ការពារយើង​ពីការ​ឆ្លង​ជំងឺ​ ប្រសិនបើ​វីរុស​ពិត​ប្រាកដ​ចូលទៅក្នុងរាងកាយ​យើង​។ (ប្រភព៖ </a:t>
            </a:r>
            <a:r>
              <a:rPr lang="km" sz="1200" b="0" i="0" u="sng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https://www.cdc.gov/coronavirus/2019-ncov/vaccines/facts.html) </a:t>
            </a:r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4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2190030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5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30676603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r>
              <a:rPr lang="km-KH" sz="1800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marL="0" marR="0" lvl="0" indent="0" algn="l" rtl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km-KH" sz="1800" b="0" i="0" u="none" baseline="0" dirty="0" smtClean="0">
              <a:effectLst/>
              <a:latin typeface="Khmer OS System" panose="02000500000000020004" pitchFamily="2" charset="0"/>
              <a:ea typeface="Times New Roman" panose="02020603050405020304" pitchFamily="18" charset="0"/>
              <a:cs typeface="Khmer OS System" panose="02000500000000020004" pitchFamily="2" charset="0"/>
            </a:endParaRPr>
          </a:p>
          <a:p>
            <a:pPr marL="0" marR="0" lvl="0" indent="0" algn="l" rtl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r>
              <a:rPr lang="km" sz="1800" b="0" i="0" u="none" baseline="0" dirty="0" smtClean="0">
                <a:effectLst/>
                <a:latin typeface="Khmer OS System" panose="02000500000000020004" pitchFamily="2" charset="0"/>
                <a:ea typeface="Times New Roman" panose="02020603050405020304" pitchFamily="18" charset="0"/>
                <a:cs typeface="Khmer OS System" panose="02000500000000020004" pitchFamily="2" charset="0"/>
              </a:rPr>
              <a:t>កំណត់</a:t>
            </a:r>
            <a:r>
              <a:rPr lang="km" sz="1800" b="0" i="0" u="none" baseline="0" dirty="0">
                <a:effectLst/>
                <a:latin typeface="Khmer OS System" panose="02000500000000020004" pitchFamily="2" charset="0"/>
                <a:ea typeface="Times New Roman" panose="02020603050405020304" pitchFamily="18" charset="0"/>
                <a:cs typeface="Khmer OS System" panose="02000500000000020004" pitchFamily="2" charset="0"/>
              </a:rPr>
              <a:t>សម្គាល់​អំពី​អូមីក្រុង​ (ប្រភព៖  https://www.cdc.gov/coronavirus/2019-ncov/variants/about-variants.html) </a:t>
            </a:r>
          </a:p>
          <a:p>
            <a:pPr marL="0" marR="0" lvl="0" indent="0" algn="l" rtl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km" sz="1800" dirty="0">
              <a:effectLst/>
              <a:latin typeface="Khmer OS System" panose="02000500000000020004" pitchFamily="2" charset="0"/>
              <a:ea typeface="Times New Roman" panose="02020603050405020304" pitchFamily="18" charset="0"/>
              <a:cs typeface="Khmer OS System" panose="02000500000000020004" pitchFamily="2" charset="0"/>
            </a:endParaRPr>
          </a:p>
          <a:p>
            <a:pPr marL="171450" indent="-171450" algn="l" rtl="0">
              <a:buFont typeface="Arial" panose="020B0604020202020204" pitchFamily="34" charset="0"/>
              <a:buChar char="•"/>
            </a:pPr>
            <a:r>
              <a:rPr lang="km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ភស្តុតាង​ដើមដំបូង​បង្ហាញថា អ្នកដែល​ចាក់វ៉ាក់សាំង​គ្រប់ចំនួន​ដែល​បាន​ឆ្លង​​វ៉ារ្យ៉ង់អូមីក្រុង​ អាច​ចម្លង​វីរុស​នេះ​ទៅអ្នកដទៃបាន។</a:t>
            </a:r>
          </a:p>
          <a:p>
            <a:pPr marL="171450" indent="-171450" algn="l" rtl="0">
              <a:buFont typeface="Arial" panose="020B0604020202020204" pitchFamily="34" charset="0"/>
              <a:buChar char="•"/>
            </a:pPr>
            <a:r>
              <a:rPr lang="km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ការលេច​ឡើង​ថ្មីៗ​នៃ​វ៉ារ្យ៉ង់​អូមីក្រុង គូសបញ្ជាក់បន្ថែម​ទៀត​អំពីសារៈសំខាន់​នៃ​ការចាក់វ៉ាក់សាំង​ និង​វ៉ាក់សាំង​</a:t>
            </a:r>
            <a:r>
              <a:rPr lang="en-US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 </a:t>
            </a:r>
            <a:r>
              <a:rPr lang="km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 panose="020B0606030504020204" pitchFamily="34" charset="0"/>
                <a:cs typeface="Khmer OS System" panose="02000500000000020004" pitchFamily="2" charset="0"/>
                <a:sym typeface="Open Sans" panose="020B0606030504020204" pitchFamily="34" charset="0"/>
              </a:rPr>
              <a:t>ដូសជំរុញ​​។</a:t>
            </a:r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6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10388473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km-KH" sz="1800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km-KH" sz="1800" b="0" i="0" u="none" baseline="0" dirty="0" smtClean="0"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" sz="1800" b="0" i="0" u="none" baseline="0" dirty="0" smtClean="0"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</a:t>
            </a:r>
            <a:r>
              <a:rPr lang="km" sz="1800" b="0" i="0" u="none" baseline="0" dirty="0"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អាច​ជ្រើសរើស​ថា​វ៉ាក់សាំង​ដូស​ជំរុញ​ណាមួយ​ដែល​អ្នក​ចង់​បាន​។ មនុស្ស​មួយចំនួន​អាចនឹង​ចង់បាន​ប្រភេទវ៉ាក់សាំង​ដែលពួកគេបានទទួល​ពីដើមមក អ្នកខ្លះទៀត​អាច​នឹង​ចង់​ទទួលដូស​ជំរុញ​ប្រភេទ​ផ្សេង​។</a:t>
            </a:r>
          </a:p>
          <a:p>
            <a:pPr marL="171450" indent="-171450" algn="l" rtl="0">
              <a:buFont typeface="Arial" panose="020B0604020202020204" pitchFamily="34" charset="0"/>
              <a:buChar char="•"/>
            </a:pPr>
            <a:r>
              <a:rPr lang="km" b="0" i="0" u="none" baseline="0" dirty="0">
                <a:solidFill>
                  <a:srgbClr val="141414"/>
                </a:solidFill>
                <a:effectLst/>
                <a:latin typeface="Khmer OS System" panose="02000500000000020004" pitchFamily="2" charset="0"/>
                <a:ea typeface="Noto Sans VF"/>
                <a:cs typeface="Khmer OS System" panose="02000500000000020004" pitchFamily="2" charset="0"/>
                <a:sym typeface="Noto Sans VF"/>
              </a:rPr>
              <a:t>ផលរំខានបន្ទាប់ពី​ដូស​ជំរុញ​ គឺដូចគ្នាទៅនឹង​ផលរំខាន​ក្រោយ​ចាក់ដូស​ទីពីរដែរ​។ </a:t>
            </a:r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" b="0" i="0" u="none" spc="-20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អ្នកនៅតែ​ត្រូវបានចាត់ទុកថា​បានចាក់វ៉ាក់សាំង​គ្រប់ចំនួន​ ប្រសិនបើ​អ្នក​មិន​ទទួល​បាន​ការចាក់​ដូសជំរុញ​ទេ​។</a:t>
            </a:r>
          </a:p>
          <a:p>
            <a:pPr marL="171450" indent="-171450" algn="l" rtl="0">
              <a:buFont typeface="Arial" panose="020B0604020202020204" pitchFamily="34" charset="0"/>
              <a:buChar char="•"/>
            </a:pPr>
            <a:r>
              <a:rPr lang="km" b="0" i="0" u="none" baseline="0" dirty="0">
                <a:solidFill>
                  <a:srgbClr val="141414"/>
                </a:solidFill>
                <a:effectLst/>
                <a:latin typeface="Khmer OS System" panose="02000500000000020004" pitchFamily="2" charset="0"/>
                <a:ea typeface="Noto Sans VF"/>
                <a:cs typeface="Khmer OS System" panose="02000500000000020004" pitchFamily="2" charset="0"/>
                <a:sym typeface="Noto Sans VF"/>
              </a:rPr>
              <a:t>អ្នកអាច​ទទួល​វ៉ាក់សាំង​ជំងឺ​ COVID-19 និង​ការចាក់វ៉ាក់សាំង​ផ្សេងទៀត​​ ដូចជា វ៉ាក់សាំង​ផ្តាសាយ​ធំ​ឬរើម ​ក្នុងពេល​ជាមួយគ្នា​ ឬក្នុងពេល​កៀក​ៗ​គ្នា​។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មិនចាំបាច់មាន​​ប័ណ្ណសម្គាល់​ឬ​ការ​ធានារ៉ាប់រង​សុខភាព​ និងមិនចាំបាច់​បង្ហាញ​ប័ណ្ណ​វ៉ាក់សាំង​ទេ​។  </a:t>
            </a:r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171450" indent="-171450" algn="l" rtl="0">
              <a:buFont typeface="Arial" panose="020B0604020202020204" pitchFamily="34" charset="0"/>
              <a:buChar char="•"/>
            </a:pPr>
            <a:r>
              <a:rPr lang="km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សម្រាប់​ចម្លើយ​ទៅនឹង​សំណួរ​ដែល​សាកសួរ​ទូទៅ​អំពីដូសជំរុញ​ សូម​ចូល​ទៅ​កាន់៖ </a:t>
            </a:r>
            <a:r>
              <a:rPr lang="km" b="1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https://www.mass.gov/info-details/covid-19-booster-frequently-asked-question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7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25789483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None/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marL="171450" marR="0" lvl="0" indent="-17145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endParaRPr lang="km-KH" sz="1200" b="0" i="0" u="none" kern="1200" baseline="0" dirty="0" smtClean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marL="171450" marR="0" lvl="0" indent="-17145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km" sz="1200" b="0" i="0" u="none" kern="1200" baseline="0" dirty="0" smtClean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វិធី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ទាំងនេះ​អនុវត្ត​ចំពោះ​អ្នកដែល​កំពុង​ស្វែងរក​ការដាក់វ៉ាក់សាំង​ដូស​ជំរុញ​ផងដែរ​។</a:t>
            </a:r>
          </a:p>
          <a:p>
            <a:pPr marL="171450" marR="0" lvl="0" indent="-17145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ខ្សែទូរសព្ទ​ធនធាន​កំណត់​ពេលវេលា​ គឺសម្រាប់​អ្នកដែលមិនអាច​ប្រើប្រាស់​អ៊ីនធឺណិត​បាន​។ ខ្សែទូរសព្ទនេះ​មាន​ផ្តល់ជូនជា​ 100ភាសា​។ អ្នកតំណាង​មាន​លទ្ធភាព​ទទួលបានការ​ណាត់ជួប​នៅតាម​គេហទំព័រ​សាធារ</a:t>
            </a:r>
            <a:r>
              <a:rPr lang="km" sz="1200" b="0" i="0" u="none" kern="1200" baseline="0" dirty="0" smtClean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ណៈ។</a:t>
            </a: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 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ម៉ោង​របស់ពួកគេ​មាន៖</a:t>
            </a:r>
          </a:p>
          <a:p>
            <a:pPr marL="628650" lvl="1" indent="-171450" algn="l" rtl="0">
              <a:buFontTx/>
              <a:buChar char="-"/>
            </a:pPr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</a:rPr>
              <a:t>ចន្ទ – ព្រហស្បតិ៍ ពីម៉ោង​ 8:30 ព្រឹកដល់​ម៉ោង​ 8:00 យប់​</a:t>
            </a:r>
          </a:p>
          <a:p>
            <a:pPr marL="628650" lvl="1" indent="-171450" algn="l" rtl="0">
              <a:buFontTx/>
              <a:buChar char="-"/>
            </a:pPr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</a:rPr>
              <a:t>សុក្រ​ – សៅរ៍ ពីម៉ោង​ 8:30 ព្រឹកដល់​ម៉ោង​ 5:00 យប់​</a:t>
            </a:r>
            <a:endParaRPr lang="km" sz="12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171450" lvl="0" indent="-171450" algn="l" rtl="0">
              <a:buFontTx/>
              <a:buChar char="-"/>
            </a:pPr>
            <a:endParaRPr lang="km" sz="120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marL="0" marR="0" algn="l" rt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km" sz="1200" dirty="0"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CD1AA723-8E7C-466C-9B48-1A291385479A}" type="slidenum">
              <a:rPr/>
              <a:t>18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3964998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m-KH" sz="1200" b="0" i="0" u="none" baseline="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" sz="1200" b="0" i="0" u="none" baseline="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ការ</a:t>
            </a:r>
            <a:r>
              <a:rPr lang="km" sz="1200" b="0" i="0" u="none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ធានារ៉ាប់រង​សុខភាព (រួមទាំង​ Medicare និង​ Medicaid) នឹង​រ៉ាប់រង​លើ​ថ្លៃ​​ចំណាយ​នៃ​ការផ្តល់វ៉ាក់សាំង​។ នាំ​យកមកជាមួយ​នូវ​​ប័ណ្ណ​ធានារ៉ាប់រង​សុខភាពរបស់អ្នក​ ប្រសិនបើអ្នក​មាន​ប័ណ្ណនោះ។ ការធានារ៉ាប់រង​របស់អ្នក​ នឹង​ចេញវិក្កយបត្រ​ទូទាត់​ដោយឥត​គិត​ថ្លៃ​ចំពោះ​អ្នក​។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m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" sz="1200" b="0" i="0" u="none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អ្នកផ្តល់ការថែទាំសុខភាព​ ក៏អាចទទួលបាន​ការទូទាត់សំណង​ផងដែរ​ពី​រដ្ឋា​ភិបាល​​សហព័ន្ធ​ សម្រាប់ថ្លៃចំណាយ​លើការផ្តល់​វ៉ាក់សាំង​ដល់ជន​អន្តោប្រវេសន៍​​ដែលគ្មានឯកសារ​សមស្រប​។​</a:t>
            </a:r>
          </a:p>
          <a:p>
            <a:endParaRPr lang="k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19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1056059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2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28494503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20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18160177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-KH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សម្គាល់៖</a:t>
            </a:r>
          </a:p>
          <a:p>
            <a:pPr algn="l" rtl="0"/>
            <a:endParaRPr lang="km-KH" b="0" i="0" u="none" baseline="0" dirty="0" smtClean="0">
              <a:solidFill>
                <a:srgbClr val="000000"/>
              </a:solidFill>
              <a:effectLst/>
              <a:latin typeface="Khmer OS System" panose="02000500000000020004" pitchFamily="2" charset="0"/>
              <a:ea typeface="Open Sans"/>
              <a:cs typeface="Khmer OS System" panose="02000500000000020004" pitchFamily="2" charset="0"/>
              <a:sym typeface="Open Sans"/>
            </a:endParaRPr>
          </a:p>
          <a:p>
            <a:pPr algn="l" rtl="0"/>
            <a:r>
              <a:rPr lang="km" b="0" i="0" u="none" baseline="0" dirty="0" smtClean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/>
                <a:cs typeface="Khmer OS System" panose="02000500000000020004" pitchFamily="2" charset="0"/>
                <a:sym typeface="Open Sans"/>
              </a:rPr>
              <a:t>ប្រភព</a:t>
            </a:r>
            <a:r>
              <a:rPr lang="km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Open Sans"/>
                <a:cs typeface="Khmer OS System" panose="02000500000000020004" pitchFamily="2" charset="0"/>
                <a:sym typeface="Open Sans"/>
              </a:rPr>
              <a:t>៖ </a:t>
            </a:r>
          </a:p>
          <a:p>
            <a:r>
              <a:rPr lang="en-US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www.cdc.gov/vaccines/hcp/conversations/understanding-vacc-work.htm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</a:t>
            </a:r>
          </a:p>
          <a:p>
            <a:r>
              <a:rPr lang="en-US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www.cdc.gov/vaccines/vpd/vpd-vac-basics.htm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3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3452434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km-KH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សម្គាល់៖</a:t>
            </a:r>
          </a:p>
          <a:p>
            <a:pPr algn="l" rtl="0"/>
            <a:endParaRPr lang="km-KH" b="0" i="0" u="none" baseline="0" dirty="0" smtClean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algn="l" rtl="0"/>
            <a:r>
              <a:rPr lang="km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ប្រភព</a:t>
            </a:r>
            <a:r>
              <a:rPr lang="km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៖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ww.cdc.gov/coronavirus/2019-ncov/vaccines/recommendations/children-teens.html</a:t>
            </a:r>
            <a:r>
              <a:rPr lang="km" dirty="0"/>
              <a:t/>
            </a:r>
            <a:br>
              <a:rPr lang="km" dirty="0"/>
            </a:br>
            <a:endParaRPr lang="k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4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13638688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-KH" sz="18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សម្គាល់៖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m-KH" sz="1800" b="0" i="0" u="none" baseline="0" dirty="0" smtClean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" sz="18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</a:t>
            </a:r>
            <a:r>
              <a:rPr lang="km" sz="18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់សាំង​ Pfizer ត្រូវបាន​អនុញ្ញាត​សម្រាប់​មនុស្ស​ដែលមានអាយុ​ 5ឆ្នាំ​ឡើងទៅ និង​មានការឯកភាព​​​ពេញលេញ​សម្រាប់​មនុស្ស​ដែលមានអាយុ​ 16ឆ្នាំឡើង​ទៅ។ </a:t>
            </a:r>
            <a:endParaRPr lang="km" sz="1800" b="1" u="none" dirty="0">
              <a:solidFill>
                <a:srgbClr val="008080"/>
              </a:solidFill>
              <a:effectLst/>
              <a:latin typeface="Khmer OS System" panose="02000500000000020004" pitchFamily="2" charset="0"/>
              <a:ea typeface="Times New Roman" panose="02020603050405020304" pitchFamily="18" charset="0"/>
              <a:cs typeface="Khmer OS System" panose="02000500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m" sz="1800" b="1" u="none" dirty="0">
              <a:solidFill>
                <a:srgbClr val="008080"/>
              </a:solidFill>
              <a:effectLst/>
              <a:latin typeface="Khmer OS System" panose="02000500000000020004" pitchFamily="2" charset="0"/>
              <a:ea typeface="Times New Roman" panose="02020603050405020304" pitchFamily="18" charset="0"/>
              <a:cs typeface="Khmer OS System" panose="02000500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" sz="1800" b="1" i="0" u="none" baseline="0" dirty="0">
                <a:solidFill>
                  <a:srgbClr val="008080"/>
                </a:solidFill>
                <a:effectLst/>
                <a:latin typeface="Khmer OS System" panose="02000500000000020004" pitchFamily="2" charset="0"/>
                <a:ea typeface="Times New Roman" panose="02020603050405020304" pitchFamily="18" charset="0"/>
                <a:cs typeface="Khmer OS System" panose="02000500000000020004" pitchFamily="2" charset="0"/>
              </a:rPr>
              <a:t>តើ​ "វ៉ាក់សាំង​ជំងឺ​ COVID-19 ប្រភេទ​ Pfizer មាន​ការឯកភាព​របស់​ FDA" មានន័យដូចម្តេច​?</a:t>
            </a:r>
            <a:r>
              <a:rPr lang="km" sz="1800" b="0" i="0" u="none" baseline="0" dirty="0">
                <a:solidFill>
                  <a:srgbClr val="008080"/>
                </a:solidFill>
                <a:effectLst/>
                <a:latin typeface="Khmer OS System" panose="02000500000000020004" pitchFamily="2" charset="0"/>
                <a:ea typeface="Times New Roman" panose="02020603050405020304" pitchFamily="18" charset="0"/>
                <a:cs typeface="Khmer OS System" panose="02000500000000020004" pitchFamily="2" charset="0"/>
              </a:rPr>
              <a:t> </a:t>
            </a:r>
            <a:endParaRPr lang="km" sz="1800" u="none" dirty="0">
              <a:effectLst/>
              <a:latin typeface="Khmer OS System" panose="02000500000000020004" pitchFamily="2" charset="0"/>
              <a:ea typeface="Times New Roman" panose="02020603050405020304" pitchFamily="18" charset="0"/>
              <a:cs typeface="Khmer OS System" panose="02000500000000020004" pitchFamily="2" charset="0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km" sz="18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8/23/21នៅថ្ងៃ​ទី​23 ខែ​សីហា ឆ្នាំ​2021 FDA បានឯកភាព​លើវ៉ាក់សាំង​ជំងឺ​ COVID-19 ជាលើកដំបូង​។ វ៉ាក់សាំង​នោះ​ត្រូវបាន​ស្គាល់ថា​ជាវ៉ាក់សាំង​ COVID-19 ប្រភេទ​ Pfizer ហើយ​នឹង​ត្រូវបានផ្សព្វផ្សាយទីផ្សារនាពេលបច្ចុប្បន្ន​​ដោយមាន​ឈ្មោះថា​ Comirnaty (koe-mir’-na-tee) សម្រាប់​ការបង្ការជំងឺ​ COVID-19 ទៅលើ​មនុស្ស​​ដែលមានអាយុ 16ឆ្នាំឡើងទៅ។ </a:t>
            </a:r>
            <a:endParaRPr lang="km" sz="1800" dirty="0"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km" sz="1800" b="0" i="0" u="none" baseline="0" dirty="0"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Comirnaty គឺជា​វ៉ាក់សាំង​តែមួយជាមួយនឹង​​វ៉ាក់សាំង​ Pfizer​។ 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km" sz="1800" b="0" i="0" u="none" baseline="0" dirty="0"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 Pfizer ក៏នៅតែ​មានផ្តល់ជូនក្រោម​ការអនុញ្ញាត​សម្រាប់ការ​ប្រើ​ប្រាស់បន្ទាន់​​ (EUA) ទៅដល់​មនុស្ស​ដែល​មាន​អាយុ​ 5ឆ្នាំ​រហូត​ដល់​ 15ឆ្នាំ ហើយសម្រាប់ដូស​ទី​បី​ មានផ្តល់ជូនសម្រាប់​បុគ្គល​មួយ​ចំនួន​ដែល​មាន​ប្រព័ន្ធ​ភាពស៊ាំ​អន់ខ្សោយ។ 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km" sz="1800" b="0" i="0" u="none" baseline="0" dirty="0"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ធៀប​ទៅនឹង​ EUA ការ​ឯកភាព​របស់ FDA​ ទៅលើវ៉ាក់សាំង​ គឺតម្រូវ​ឲ្យ​មាន​ទិន្នន័យ​​ច្រើនបន្ថែមទៀត​ស្តីពីសុវត្ថិភាព​ ការផលិត​ និង​ប្រសិទ្ធភាព​ក្នុង​រយៈ​ពេល​​វែង​​ និង​រួមបញ្ចូលនូវ​ទិន្នន័យ​ពិត​ជាក់ស្តែង​ផងដែរ​។ 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km" sz="18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ារឯកភាព​ពេញលេញ​ដោយ​ FDA មានន័យថា​វ៉ាក់សាំង​ Comirnaty នៅពេលនេះ​មាន​ឯកភាពក្នុងកម្រិត​​ដូចគ្នា​នឹង​វ៉ាក់សាំង​ផ្សេង​ទៀត​​ដែលបាន​ប្រើប្រាស់​ជាធម្មតា​នៅក្នុងសហរដ្ឋ​អាមេរិក​ ដូចជា​ វ៉ាក់សាំង​សម្រាប់​ជំងឺ​ថ្លើម កញ្ជ្រឹល​ អ៊ុតស្វាយ​ និង​គ្រុនស្វិតដៃជើង​។</a:t>
            </a:r>
            <a:r>
              <a:rPr lang="km" sz="1800" b="0" i="0" u="none" baseline="0" dirty="0"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km" sz="18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ជំងឺ​ COVID-19 ប្រភេទ Pfizer គឺជា​វ៉ាក់សាំង​ដំបូង​ដែល​ទទួលបាន​ការអនុញ្ញាតឲ្យប្រើប្រាស់បន្ទាន់​​ ហេតុនេះ​ហើយទើប​វា​ជាវ៉ាក់សាំង​ដំបូង​ដែល​​មានទិន្នន័យ​គ្រប់គ្រាន់​ក្នុងការទទួលបាន​ការឯកភាពពេញលេញ​។ វា​មិនមានន័យអ្វី​ផ្សេងពាក់ព័ន្ធនឹង​សុវត្ថិភាពនិងប្រសិទ្ធភាព​នៃ​វ៉ាក់សាំង Moderna និង​ Johnson &amp; Johnson​ នោះទេ​។ </a:t>
            </a:r>
            <a:endParaRPr lang="km" sz="1800" dirty="0"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</a:endParaRPr>
          </a:p>
          <a:p>
            <a:pPr>
              <a:lnSpc>
                <a:spcPct val="100000"/>
              </a:lnSpc>
            </a:pPr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algn="l" rtl="0">
              <a:lnSpc>
                <a:spcPct val="100000"/>
              </a:lnSpc>
            </a:pPr>
            <a:r>
              <a:rPr lang="km" b="1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តើ "ការ​អនុញ្ញាត​សម្រាប់​ការប្រើប្រាស់​បន្ទាន់​​ (EUA)" ជាអ្វី​? </a:t>
            </a:r>
          </a:p>
          <a:p>
            <a:pPr algn="l" rtl="0">
              <a:lnSpc>
                <a:spcPct val="100000"/>
              </a:lnSpc>
            </a:pPr>
            <a:r>
              <a:rPr lang="km" b="0" i="0" u="none" spc="-30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FDA របស់សហរដ្ឋអាមេរិក​ បាន​បង្កលទ្ធភាព​ឲ្យ​វ៉ាក់សាំង​ COVID-19 ប្រភេទ​ Pfizer, Moderna, និង​ Janssen មានផ្តល់</a:t>
            </a:r>
            <a:r>
              <a:rPr lang="km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ជូន​ក្រោម​យន្តការ​នៃ​ស្ថានភាព​បន្ទាន់​ ហៅថា​ EUA។ EUA ត្រូវបានគាំទ្រដោយសេចក្តីប្រកាសរបស់​​រដ្ឋលេខា​ធិការក្រសួង​សុខាភិបាល​និង​សេវាមនុស្សជាតិ​ (HHS) ដែលថា​ស្ថានភាព​មួយ​មាន​អត្ថិភាព​​ក្នុង</a:t>
            </a:r>
            <a:r>
              <a:rPr lang="km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ការ</a:t>
            </a:r>
            <a:r>
              <a:rPr lang="km-KH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​   ​</a:t>
            </a:r>
            <a:r>
              <a:rPr lang="km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​</a:t>
            </a:r>
            <a:r>
              <a:rPr lang="km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ផ្តល់​ហេតុផល​សមស្របចំពោះការ​ប្រើប្រាស់​បន្ទាន់​នៃ​ឱសថ​នៅអំឡុង​ពេលនៃ​ជំងឺ​រាតត្បាត​ COVID-19។</a:t>
            </a:r>
          </a:p>
          <a:p>
            <a:pPr>
              <a:lnSpc>
                <a:spcPct val="100000"/>
              </a:lnSpc>
            </a:pPr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algn="l" rtl="0">
              <a:lnSpc>
                <a:spcPct val="100000"/>
              </a:lnSpc>
            </a:pPr>
            <a:r>
              <a:rPr lang="km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FDA អាចផ្តល់ EUA នៅពេល​បំពេញតាម​លក្ខណៈវិនិច្ឆ័យ​ជាក់​លាក់​មួយ​ចំនួន​ បូក​រួម​ទាំង​លក្ខខណ្ឌ​​ដែល​​គ្មាន​</a:t>
            </a:r>
            <a:r>
              <a:rPr lang="km" b="0" i="0" u="none" spc="50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ជម្រើសផ្សេង​ទៀត​​ដែល​មាន​ភាព​គ្រប់​គ្រាន់​​ ដែល​ទទួល​បានការ​​ឯកភាព​ និងដែល​អាចប្រើប្រាស់បា​ន​​​។ </a:t>
            </a:r>
            <a:r>
              <a:rPr lang="km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ការសម្រេចរបស់​ FDA ក៏ផ្អែកលើ​​ភស្តុតាង​វិទ្យាសាស្រ្ត​មាន​ផ្តល់ជូនដែល​បង្ហាញ​ថា​ ផលិតផលនោះ​អាច​នឹង​មានប្រសិទ្ធភាព​បង្ការជំងឺ​ COVID-19​ នៅ​អំឡុង​ពេលជំងឺរាតត្បាត​ និង​ដែល​បង្ហាញថា​អត្ថប្រយោជន៍​ដែល​បាន​ដឹង​​ច្បាស់​និង​មានសក្តានុពល​នៃ​ផលិតផលនោះ​ គឺ​មាន​ច្រើន​ជាង​ហានិភ័យ​​​។ គ្រប់​លក្ខណៈវិនិច្ឆ័យទាំងនេះ​ ត្រូវតែ​បំពេញ​ដើម្បី​អនុញ្ញា​ត​ឲ្យប្រើប្រាស់​ផលិត​ផល​នេះ​នៅអំឡុងពេល​ជំងឺរាតត្បាត​  COVID-19។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5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3638461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None/>
            </a:pPr>
            <a:r>
              <a:rPr lang="km-KH" sz="1800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None/>
            </a:pPr>
            <a:endParaRPr lang="km-KH" sz="1800" b="0" i="0" u="none" baseline="0" dirty="0" smtClean="0">
              <a:solidFill>
                <a:srgbClr val="008080"/>
              </a:solidFill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None/>
            </a:pPr>
            <a:r>
              <a:rPr lang="km" sz="1800" b="0" i="0" u="none" baseline="0" dirty="0" smtClean="0">
                <a:solidFill>
                  <a:srgbClr val="00808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</a:t>
            </a:r>
            <a:r>
              <a:rPr lang="km" sz="1800" b="0" i="0" u="none" baseline="0" dirty="0">
                <a:solidFill>
                  <a:srgbClr val="00808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់សាំង​ជំងឺ​ COVID-19 ប្រភេទ  Pfizer គឺ​មានប្រសិទ្ធភាព​លើស​ពី​ 90% ក្នុងការ​បង្ការ​ជំងឺ​ COVID-19 ទៅលើកុមារអាយុ​ 5ឆ្នាំដល់​ 11ឆ្នាំ​។</a:t>
            </a:r>
            <a:endParaRPr lang="km" sz="1800" u="none" dirty="0"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</a:endParaRPr>
          </a:p>
          <a:p>
            <a:endParaRPr lang="k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34CBBDB-52D0-FE4C-8729-D7393D454E10}" type="slidenum">
              <a:rPr/>
              <a:t>6</a:t>
            </a:fld>
            <a:endParaRPr lang="km"/>
          </a:p>
        </p:txBody>
      </p:sp>
    </p:spTree>
    <p:extLst>
      <p:ext uri="{BB962C8B-B14F-4D97-AF65-F5344CB8AC3E}">
        <p14:creationId xmlns:p14="http://schemas.microsoft.com/office/powerpoint/2010/main" val="2554612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0" name="Google Shape;410;p80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algn="l" rtl="0"/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algn="l" rtl="0"/>
            <a:endParaRPr lang="km-KH" sz="1200" b="0" i="0" u="none" kern="1200" baseline="0" dirty="0" smtClean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algn="l" rtl="0"/>
            <a:r>
              <a:rPr lang="km" sz="1200" b="0" i="0" u="none" kern="1200" baseline="0" dirty="0" smtClean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យើង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​យល់អំពីសារៈសំខាន់​នៃ​ភាព​បើកចំហ​និង​ស្មោះត្រង់​ពាក់ព័ន្ធនឹង​សុវត្ថិភាព​ និង​ការ​អភិវឌ្ឍ​វ៉ាក់សាំង​ ជាពិសេស​ចំពោះ​សហគមន៍​ដែលបាន​ទទួលរង​ផលលំបាក​នៃ​ការ​ព្យាបាលខុសបច្ចេកទេស​។ </a:t>
            </a:r>
          </a:p>
          <a:p>
            <a:endParaRPr lang="km" sz="1200" b="0" i="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algn="l" rtl="0"/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ចាំបាច់ត្រូវដឹង​ថា​ វ៉ាក់សាំង​ឆ្លងកាត់​ការធ្វើតេស្ត​ច្រើនជាងឱសថ​ផ្សេងទៀត៖  មុនពេល​វ៉ាក់សាំង​ណាមួយ​មានផ្តល់ជូន វាត្រូវតែ​ឆ្លងកាត់​ការអភិវឌ្ឍ​និង​ការ​ធ្វើតេស្តយ៉ាង​ហ្មត់ចត់​។​ ការផលិត​គឺ​មានសារៈសំខាន់ណាស់​ គ្រប់ដូ​ស​ទាំងអស់​ត្រូវតែ​មាន​ប្រសិទ្ធភាព​​ខ្ពស់​ឥត​ប្រែប្រួល​។ ម្យ៉ាង​ទៀត មាន​ការធ្វើតេស្ត​យ៉ាង​ទូលំទូលាយ​នៅក្នុង​ការពិសោធន៍​សាក​ល្បង​​បែប​វេជ្ជសាស្ត្រ​​ដើម្បី​បញ្ជាក់​ពីសុវត្ថិភាព​។   </a:t>
            </a:r>
          </a:p>
          <a:p>
            <a:endParaRPr lang="km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ប្រភព៖ https://www.cdc.gov/coronavirus/2019-ncov/vaccines/safety.html  </a:t>
            </a:r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11" name="Google Shape;411;p80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65168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g79ce8b2f6a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7" name="Google Shape;427;g79ce8b2f6a_0_5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200" cy="366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marL="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km-KH" sz="1200" b="0" i="0" u="none" kern="1200" spc="50" baseline="0" dirty="0" smtClean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marL="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km" sz="1200" b="0" i="0" u="none" kern="1200" spc="50" baseline="0" dirty="0" smtClean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សុវត្ថិ</a:t>
            </a:r>
            <a:r>
              <a:rPr lang="km" sz="1200" b="0" i="0" u="none" kern="1200" spc="5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ភាព​គឺជា​អាទិភាព​ចម្បង​បំផុត​ ហើយ​ការត្រួតពិនិត្យ​សុវត្ថិភាពសម្រាប់​វ៉ាក់សាំង​ COVID-19 គឺមាន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ភាព​ហ្មត់ចត់​និងគ្រប់ជ្រុងជ្រោយបំផុត​នៅក្នុង​ប្រវត្តិសាស្ត្រ​សហរដ្ឋ​អាមេរិកពីដើមរៀង​​មក​​។</a:t>
            </a:r>
          </a:p>
          <a:p>
            <a:pPr marL="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km" sz="1200" b="0" i="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28" name="Google Shape;428;g79ce8b2f6a_0_5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00" cy="46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68532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1" name="Google Shape;441;p8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-KH" dirty="0" smtClean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m-KH" sz="1200" b="0" i="0" u="none" kern="1200" baseline="0" dirty="0" smtClean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m" sz="1200" b="0" i="0" u="none" kern="1200" baseline="0" dirty="0" smtClean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វ៉ា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ក់សាំង​ជំងឺ​ COVID-19 ត្រូវបានបង្កើត​ឡើង​យ៉ាង​ឆាប់រហ័ស​ ប៉ុន្តែ​រាល់​ជំហាន​​សុវត្ថិភាព​ទាំង​អស់​បាន​អនុវត្ត​សម្រាប់វ៉ាក់សាំង​នេះ គឺ​ដូចគ្នា​ទៅនឹង​ជំហាន​នានា​ដែល​បានប្រើប្រាស់​សម្រាប់​វ៉ាក់សាំង​ទាំងអស់​។ </a:t>
            </a:r>
          </a:p>
          <a:p>
            <a:pPr algn="l" rtl="0"/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ក្រុមហ៊ុន​វ៉ាក់សាំង​បានដំណើរការ​ទៅមុខ​យ៉ាង​ឆាប់​​រហ័ស​ ដោយសារ​</a:t>
            </a:r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៖</a:t>
            </a:r>
          </a:p>
          <a:p>
            <a:pPr algn="l" rtl="0"/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 </a:t>
            </a:r>
            <a:endParaRPr lang="km" sz="12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457200" lvl="0" indent="-457200" algn="l" rtl="0">
              <a:buFont typeface="+mj-lt"/>
              <a:buAutoNum type="arabicPeriod"/>
            </a:pPr>
            <a:r>
              <a:rPr lang="km" sz="1200" b="1" i="1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យើង​មាន​ព័ត៌មាន​ដ៏មានប្រយោជន៍​ពីមុនមក​​៖ </a:t>
            </a:r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ីរុស​ជំងឺ​ COVID-19 គឺជាផ្នែក​មួយនៃអំបូរ​ជំងឺ​កូរ៉ូណា​ដែល​</a:t>
            </a:r>
            <a:r>
              <a:rPr lang="km" sz="1200" b="0" i="0" u="none" spc="20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ធ្លាប់បានសិក្សា​ជាយូរណាស់មកហើយ។ អ្នកជំនាញ​បានសិក្សា​អំពី​ព័ត៌មាន​សំខាន់ៗ​ពី​ការផ្ទុះ​ឡើង​នៃ​វីរុស</a:t>
            </a:r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កូរ៉ូណា​ផ្សេង​ទៀត​ដែល​ជួយ​ឲ្យពួកគេ​បង្កើត​នូវ​វ៉ាក់សាំង​ជំងឺ​ COVID-19 ដូច្នេះ​យើង​មិន​បាន​ចាប់ផ្តើម​ពីចំណុចសូន្យ​ទៅទេ​។ </a:t>
            </a:r>
          </a:p>
          <a:p>
            <a:pPr marL="457200" lvl="0" indent="-457200" algn="l" rtl="0">
              <a:buFont typeface="+mj-lt"/>
              <a:buAutoNum type="arabicPeriod"/>
            </a:pPr>
            <a:endParaRPr lang="km" sz="12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457200" lvl="0" indent="-457200" algn="l" rtl="0">
              <a:buFont typeface="+mj-lt"/>
              <a:buAutoNum type="arabicPeriod"/>
            </a:pPr>
            <a:r>
              <a:rPr lang="km" sz="1200" b="1" i="1" u="none" spc="-50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រដ្ឋាភិបាល​បានផ្តល់មូលនិធិដល់ការសិក្សាស្រាវជ្រាវលើវ៉ាក់សាំង​៖</a:t>
            </a:r>
            <a:r>
              <a:rPr lang="km" sz="1200" b="0" i="0" u="none" spc="-50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សហរដ្ឋ​អាមេរិក​ និង​រដ្ឋាភិបាល​ផ្សេងទៀត</a:t>
            </a:r>
            <a:r>
              <a:rPr lang="km" sz="12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 បានវិនិយោគ​ទឹក​ប្រាក់​ជា​ច្រើន ​ដើម្បីគាំទ្រដល់ក្រុមហ៊ុនវ៉ាក់សាំង​​តាមរយៈការងាររបស់ពួកគេ​។ ការធ្វើ​ការងារ​រួមគ្នា​ជាមួយ​ប្រទេស​ដទៃ​ទៀត​ ក៏បានជួយ​ដល់អ្នក​ស្រាវជ្រាវ​ឲ្យ​មានដំណើរការ​ទៅមុខ​យ៉ាង​ឆាប់រហ័ស​ផងដែរ​។</a:t>
            </a:r>
          </a:p>
          <a:p>
            <a:pPr marL="457200" lvl="0" indent="-457200" algn="l" rtl="0">
              <a:buFont typeface="+mj-lt"/>
              <a:buAutoNum type="arabicPeriod"/>
            </a:pPr>
            <a:endParaRPr lang="km" sz="1200" b="0" i="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marL="457200" lvl="0" indent="-457200" algn="l" rtl="0">
              <a:buFont typeface="+mj-lt"/>
              <a:buAutoNum type="arabicPeriod"/>
            </a:pPr>
            <a:r>
              <a:rPr lang="km" sz="1200" b="1" i="1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មនុស្សរ</a:t>
            </a:r>
            <a:r>
              <a:rPr lang="km-KH" sz="1200" b="1" i="1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ា</a:t>
            </a:r>
            <a:r>
              <a:rPr lang="km" sz="1200" b="1" i="1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ប់ម៉ឺននាក់​បានចូលរួមក្នុងការ​សិក្សា​ស្រាវជ្រាវ​លើ​វ៉ាក់សាំង​៖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 ការសិក្សា​លើវ៉ាក់សាំង​ (ហៅថា ​ការពិសោធន៍សាកល្បង​បែបវេជ្ជសាស្ត្រ) ត្រូវបានធ្វើ​ឡើង​​ដើម្បី​បញ្ជាក់​ឲ្យឃើញថា​វ៉ាក់សាំង​នេះ​មានសុវត្ថិភាពនិង​ប្រសិទ្ធភាព​។​ មនុស្សរាប់ម៉ឺននាក់​បានចុះឈ្មោះ​សម្រាប់ការសិក្សានេះ ដូច្នេះ​ក្រុមហ៊ុន​មិន​ចាំបាច់​ចំណាយពេលច្រើន​ស្វែងរកអ្នកស្ម័គ្រចិត្តទេ​។</a:t>
            </a:r>
          </a:p>
          <a:p>
            <a:pPr marL="457200" lvl="0" indent="-457200" algn="l" rtl="0">
              <a:buFont typeface="+mj-lt"/>
              <a:buAutoNum type="arabicPeriod"/>
            </a:pPr>
            <a:endParaRPr lang="km" sz="1200" b="0" i="0" kern="1200" dirty="0">
              <a:solidFill>
                <a:schemeClr val="tx1"/>
              </a:solidFill>
              <a:effectLst/>
              <a:latin typeface="Khmer OS System" panose="02000500000000020004" pitchFamily="2" charset="0"/>
              <a:ea typeface="+mn-ea"/>
              <a:cs typeface="Khmer OS System" panose="02000500000000020004" pitchFamily="2" charset="0"/>
            </a:endParaRPr>
          </a:p>
          <a:p>
            <a:pPr marL="457200" lvl="0" indent="-457200" algn="l" rtl="0">
              <a:buFont typeface="+mj-lt"/>
              <a:buAutoNum type="arabicPeriod"/>
            </a:pPr>
            <a:r>
              <a:rPr lang="km" sz="1200" b="1" i="1" u="none" kern="1200" spc="2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ការផលិត​បានប្រព្រឹត្តទៅ​ដំណាលគ្នានឹងការសិក្សាអំពី​សុវត្ថិភាព​ដែរ៖​</a:t>
            </a:r>
            <a:r>
              <a:rPr lang="km" sz="1200" b="0" i="0" u="none" kern="1200" spc="2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 ក្រុមហ៊ុនវ៉ាក់សាំង​បានចាប់ផ្តើម</a:t>
            </a:r>
            <a:r>
              <a:rPr lang="km" sz="1200" b="0" i="0" u="none" kern="1200" baseline="0" dirty="0">
                <a:solidFill>
                  <a:schemeClr val="tx1"/>
                </a:solidFill>
                <a:effectLst/>
                <a:latin typeface="Khmer OS System" panose="02000500000000020004" pitchFamily="2" charset="0"/>
                <a:ea typeface="+mn-ea"/>
                <a:cs typeface="Khmer OS System" panose="02000500000000020004" pitchFamily="2" charset="0"/>
              </a:rPr>
              <a:t>​ផលិតវ៉ាក់សាំង​ក្នុងពេល​ដំណាល​គ្នា​នឹង​ពេលដែល​ការសិក្សា​កំពុង​ប្រព្រឹត្តទៅ​ ដោយសង្ឃឹមថា​វាអាច​បង្ហាញ​ឲ្យ​ឃើញ​ពីសុវត្ថិភាព​និងប្រសិទ្ធភាព​។ នេះ​មានន័យថា​ វ៉ាក់សាំង​បានត្រៀមរួចរាល់​ក្នុងការចែកចាយ​ នៅពេលណា​ពួកវា​ទទួល​បានការឯកភាព​។</a:t>
            </a:r>
          </a:p>
          <a:p>
            <a:pPr marL="457200" lvl="0" indent="-457200" algn="l" rtl="0">
              <a:buFont typeface="+mj-lt"/>
              <a:buAutoNum type="arabicPeriod"/>
            </a:pPr>
            <a:endParaRPr lang="km" sz="12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42" name="Google Shape;442;p8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3393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tags" Target="../tags/tag27.xml"/><Relationship Id="rId11" Type="http://schemas.openxmlformats.org/officeDocument/2006/relationships/image" Target="../media/image8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4.xml"/><Relationship Id="rId11" Type="http://schemas.openxmlformats.org/officeDocument/2006/relationships/image" Target="../media/image8.emf"/><Relationship Id="rId5" Type="http://schemas.openxmlformats.org/officeDocument/2006/relationships/tags" Target="../tags/tag3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7.emf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5.vml"/><Relationship Id="rId6" Type="http://schemas.openxmlformats.org/officeDocument/2006/relationships/tags" Target="../tags/tag50.xml"/><Relationship Id="rId11" Type="http://schemas.openxmlformats.org/officeDocument/2006/relationships/image" Target="../media/image8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image" Target="../media/image8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tags" Target="../tags/tag64.xml"/><Relationship Id="rId11" Type="http://schemas.openxmlformats.org/officeDocument/2006/relationships/image" Target="../media/image8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8.emf"/><Relationship Id="rId2" Type="http://schemas.openxmlformats.org/officeDocument/2006/relationships/tags" Target="../tags/tag67.xml"/><Relationship Id="rId1" Type="http://schemas.openxmlformats.org/officeDocument/2006/relationships/vmlDrawing" Target="../drawings/vmlDrawing8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9.emf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oleObject" Target="../embeddings/oleObject9.bin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9.emf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8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8.emf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image" Target="../media/image8.emf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6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05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9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24.xml"/><Relationship Id="rId11" Type="http://schemas.openxmlformats.org/officeDocument/2006/relationships/image" Target="../media/image7.emf"/><Relationship Id="rId5" Type="http://schemas.openxmlformats.org/officeDocument/2006/relationships/tags" Target="../tags/tag12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22.xml"/><Relationship Id="rId9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2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image" Target="../media/image8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8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150th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xmlns="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B9E6C06E-03B8-7949-8144-A02BF1F0C7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521" y="15"/>
            <a:ext cx="1185447" cy="248749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76420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5B8B53-90FF-4B4A-8E39-998C0E156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898DCD7-FE2E-4ED5-91E3-FCACD0BA21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F7FDC17-09CF-4151-9D91-243706681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1E33274-C746-4730-B550-5ABDCA932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3B407E-36DF-4E17-9DE8-1A9557FAD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976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D00E4E-288D-4844-BD96-1CB09ACB6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289D781-AD92-424A-89CA-AE7512FD8F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9E8A40A-BCF2-45E9-ABE8-52F81B2D6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8E643A1-836C-4217-A9CC-92209A328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A321261-AC99-4E20-84F9-63B0CBB01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865C488-2E7E-4366-966A-2E9747808E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108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221EFD3-1EF5-467C-9F9A-F992F96139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49032D-29D7-4055-A58D-32C818DD3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62F5B48-B437-4764-8A20-C06E433B35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C23693-01E2-4A43-B18A-708C72CBCD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415201AE-B22B-4125-9B7A-9D75D47FA5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BCCD42B9-52C6-4FFE-AEEB-A6A7FE0B8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F943F02-4FAB-4B2E-B1D2-5B657AD19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D3E52434-DD28-4162-81DD-6EA67C19A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123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B3BF78-FBCC-45C7-B31D-E4F3C07C7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9B67FBE-FC23-4D8D-AC8F-998044EED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F6FBE9F-CC87-4F2D-AFB2-A783706E6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061D058-1BD7-4174-AA50-5FFF83D13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629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24542A7-C082-4CFA-AA73-33681F1CE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BD9DB6BD-DBA1-4A80-907B-D03CAEEF5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1CBF653-3E4E-4CF4-B628-394E9B463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58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C1BED2-26AE-47E3-A613-5EDD32E3D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96BDF38-40D7-48E2-9014-1D9E59C515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7D7AB12-3217-4BD1-8A6F-22EA4D4130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0293CD9-85FC-4B00-AD61-AB97952BC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607B67F-56C9-4D00-9465-4F3E2123D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800BB0B-2BA9-4E97-A244-DF9A3155F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6177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F93323-0A85-4290-A635-1BC59E834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8B57170-E62F-48B7-9469-4F788733EF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2D10CCC-7279-4D26-A26D-A12C434441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66A7469-F7C0-43A5-BB85-C848BFB0D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34B19B1-55E2-41A7-A28D-00D5C2315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8EC9747-F606-42BA-BDB0-CA8D4D021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159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E2621C0-39E0-44C2-9A9F-9437DEB0E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A59E6C2-ABFA-4F8B-8826-13D6CD5BFC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2C34CD8-47B7-43D7-AA30-992C53580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0369878-CBF5-4254-9CF4-B90DDE318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5C55C78-9714-478D-A579-3DBA41102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6538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C841A757-A595-43FF-B487-0A2487E647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3782295D-F814-474C-82A9-7468458674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53A2CB6-F237-4D9D-934A-7A86B3A55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8ABAD40-2D77-4D91-ACF1-97A11C17E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D7D05F6-F9C5-43F0-9868-4C6F65878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2813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4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035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xmlns="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xmlns="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4703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xmlns="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xmlns="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xmlns="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xmlns="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896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xmlns="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xmlns="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xmlns="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xmlns="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E3E43528-CD26-468A-9D6D-59D3816B67D2}"/>
              </a:ext>
            </a:extLst>
          </p:cNvPr>
          <p:cNvSpPr txBox="1"/>
          <p:nvPr userDrawn="1"/>
        </p:nvSpPr>
        <p:spPr>
          <a:xfrm>
            <a:off x="11394019" y="6435725"/>
            <a:ext cx="278341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811798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xmlns="" id="{975D1B44-661B-4F7B-B8A0-9C458417D6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12" imgW="572" imgH="588" progId="TCLayout.ActiveDocument.1">
                  <p:embed/>
                </p:oleObj>
              </mc:Choice>
              <mc:Fallback>
                <p:oleObj name="think-cell Slide" r:id="rId12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6743208-2407-42A5-AA96-0B30899A9C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xmlns="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25929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xmlns="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2D9802C1-17F2-4D5F-804F-01991074A31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xmlns="" id="{335AEFB6-D0FB-42BD-A7D9-B038003F9038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2732672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xmlns="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xmlns="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xmlns="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06565"/>
            <a:ext cx="3813048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0ABC9AF6-5160-4451-8ECE-0567926D2BD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33275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xmlns="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090450"/>
            <a:ext cx="5065776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xmlns="" id="{D5D9F919-7521-44EA-9A91-4EC8F5D2210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94267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6FE1FF87-A5BB-4972-8F6E-73AA93FD3E6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27C40733-AAB6-4B1C-9ABF-846569264BB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4919246"/>
            <a:ext cx="11082528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xmlns="" id="{4F0D16F9-FC38-440D-888F-B825EE88DEB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157164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xmlns="" id="{66AA477A-2870-4EE9-86E9-448D3B9BAF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6C9713CF-4FEA-4739-B0A0-6B196442AEE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505712" y="3841050"/>
            <a:ext cx="9180576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1505712" y="428463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xmlns="" id="{5D34B3BD-8BCA-4033-B144-D029D5A6161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222230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xmlns="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xmlns="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413760" y="0"/>
            <a:ext cx="877824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xmlns="" id="{BE2CCBC0-C6F2-40FC-91A9-0C10FE38C17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252111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8" y="41598"/>
            <a:ext cx="252111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48218" y="3636553"/>
            <a:ext cx="252111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48218" y="2502262"/>
            <a:ext cx="252111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44C1EF3F-8633-48A1-9E13-6964B8387937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997073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xmlns="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4364736" y="0"/>
            <a:ext cx="782726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xmlns="" id="{FD54F44A-AA88-4B28-88CB-9DD6BDA16D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347600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48218" y="2840816"/>
            <a:ext cx="3476007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48217" y="3636553"/>
            <a:ext cx="3462528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C6F7C55D-688F-462A-99C0-63216457577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78885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xmlns="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515918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173736"/>
            <a:ext cx="5159180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7" y="525929"/>
            <a:ext cx="5159180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F6423CDC-10C6-4893-AAB3-4DC3BAB587D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39227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7716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xmlns="" id="{0151F0BA-80A8-4F21-BC61-52898A9C097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6967303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173736"/>
            <a:ext cx="6967303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7" y="525929"/>
            <a:ext cx="6967303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C494F823-6042-40C6-94CD-0F980C6F2DF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224422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C0F3E7B1-38C8-4558-A8C6-99F73B7D438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501670"/>
            <a:ext cx="79248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3736"/>
            <a:ext cx="79248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525929"/>
            <a:ext cx="79248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4BA71C2D-8769-4A52-BEB4-7C780187BFA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112821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xmlns="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E3C08BE2-DFA5-4DF3-81CF-C757EBD94F2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xmlns="" id="{5B035A1A-50B6-45E3-9869-D14473D397A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228067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E008B892-7EEF-40A7-8714-CA703035E12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047C437-9378-4088-A289-F201ABA447D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xmlns="" id="{49991C03-7F48-47F1-B3A9-19D7D1A4653F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053920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xmlns="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xmlns="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xmlns="" id="{3925F7DB-235B-4011-96E3-49D4B5E6FEEF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17980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CF83F29-890E-466D-B3C1-AB5022B71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213D292-91ED-4336-8E66-F27B2FF9A8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F205850-3431-42F9-B04B-4E21EEDCD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519A7-4256-4AB7-A86A-4534FE174684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500AFB6-042F-4F07-8DD2-7FF1DFA84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E0761DE-742E-4BB8-921A-D92235965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FC1DB-3780-4B41-B9AB-3ECF7C4ABC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2733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CC38585-9175-5F41-B983-E626A8B41D81}"/>
              </a:ext>
            </a:extLst>
          </p:cNvPr>
          <p:cNvSpPr/>
          <p:nvPr userDrawn="1"/>
        </p:nvSpPr>
        <p:spPr>
          <a:xfrm>
            <a:off x="0" y="6"/>
            <a:ext cx="12192000" cy="1144121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xmlns="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57BF16A-46A2-2C4D-B679-429BA6325698}"/>
              </a:ext>
            </a:extLst>
          </p:cNvPr>
          <p:cNvSpPr txBox="1"/>
          <p:nvPr userDrawn="1"/>
        </p:nvSpPr>
        <p:spPr>
          <a:xfrm>
            <a:off x="1768635" y="283853"/>
            <a:ext cx="10423375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xmlns="" id="{6612BE03-D243-41B4-AFEA-AC1446BA13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801" y="36383"/>
            <a:ext cx="1343467" cy="10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4011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4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9148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-110836" y="18031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9497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937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4AF37ED-E52C-D04B-BD70-B183C03E603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1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6BF9CA7-3F15-9446-8EB4-C69A477911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1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E6C81A7-EF54-644A-A3A3-A900741EE329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93944A5-DA90-DB40-BCC8-0A6C4A82F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0DFBDE89-FFE1-E340-9D69-8210BFC18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C11C5B4-7BBB-FC41-86C0-AAB19811817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223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3050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9387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7614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3457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5982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6134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7316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3050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3001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799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868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0803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1036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9720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72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61A8284-67CC-404B-90F5-554DCBF91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097280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A90A712-FBB8-5B49-9A19-7524CF76EC3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9" y="1920238"/>
            <a:ext cx="5157787" cy="4297680"/>
          </a:xfrm>
          <a:prstGeom prst="rect">
            <a:avLst/>
          </a:prstGeo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5855752-6A74-934C-B334-F2DD6B79D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097280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51ED7E2-1F15-7C46-9001-20B2F8A00C5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3" y="1920238"/>
            <a:ext cx="5183188" cy="4297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99027F3-96A1-F54F-89E8-F47E6B10DE1B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7CFBF09-BBCF-454C-91A3-1D89A60FA302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EEF3B907-07EC-464A-9168-21644716BC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1561A3A6-AA0A-054F-AD42-397A9574A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6588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5559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7255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xmlns="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xmlns="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8910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with D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63E049E-FD56-F54C-8BAD-BC944A51238B}"/>
              </a:ext>
            </a:extLst>
          </p:cNvPr>
          <p:cNvSpPr txBox="1"/>
          <p:nvPr userDrawn="1"/>
        </p:nvSpPr>
        <p:spPr>
          <a:xfrm>
            <a:off x="721905" y="293879"/>
            <a:ext cx="708660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Connect with DPH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3" name="Picture 2" descr="C:\Users\ABCohen\AppData\Local\Microsoft\Windows\Temporary Internet Files\Content.IE5\43RR80EE\Twitter_bird_logo_2012.svg[1].png">
            <a:extLst>
              <a:ext uri="{FF2B5EF4-FFF2-40B4-BE49-F238E27FC236}">
                <a16:creationId xmlns:a16="http://schemas.microsoft.com/office/drawing/2014/main" xmlns="" id="{4F6B478E-A7A8-1F4E-B422-5CB6507546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2285" y="1353783"/>
            <a:ext cx="843195" cy="68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ABCohen\AppData\Local\Microsoft\Windows\Temporary Internet Files\Content.IE5\75V1FWE6\LinkedIn_logo_initials[1].png">
            <a:extLst>
              <a:ext uri="{FF2B5EF4-FFF2-40B4-BE49-F238E27FC236}">
                <a16:creationId xmlns:a16="http://schemas.microsoft.com/office/drawing/2014/main" xmlns="" id="{655629D2-47C3-9740-AF5E-F6DEC31BCC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410" y="2423785"/>
            <a:ext cx="838201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8F5FDECC-88AB-4247-9773-F39572AE3242}"/>
              </a:ext>
            </a:extLst>
          </p:cNvPr>
          <p:cNvSpPr/>
          <p:nvPr userDrawn="1"/>
        </p:nvSpPr>
        <p:spPr>
          <a:xfrm>
            <a:off x="2423333" y="1401900"/>
            <a:ext cx="922020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/>
              <a:t>@</a:t>
            </a:r>
            <a:r>
              <a:rPr lang="en-US" sz="3600" dirty="0" err="1"/>
              <a:t>MassDPH</a:t>
            </a:r>
            <a:endParaRPr lang="en-US" sz="3600" dirty="0"/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Massachusetts Department of Public 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DPH blog</a:t>
            </a:r>
          </a:p>
          <a:p>
            <a:pPr fontAlgn="base"/>
            <a:r>
              <a:rPr lang="en-US" sz="2800" dirty="0"/>
              <a:t>https://blog.mass.gov/public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www.mass.gov/dph</a:t>
            </a:r>
          </a:p>
        </p:txBody>
      </p:sp>
      <p:pic>
        <p:nvPicPr>
          <p:cNvPr id="16" name="Picture 4" descr="C:\Users\ABCohen\AppData\Local\Microsoft\Windows\Temporary Internet Files\Content.Outlook\L5IST9YM\DPHLogo_Blue.png">
            <a:extLst>
              <a:ext uri="{FF2B5EF4-FFF2-40B4-BE49-F238E27FC236}">
                <a16:creationId xmlns:a16="http://schemas.microsoft.com/office/drawing/2014/main" xmlns="" id="{375142A8-4983-3D49-94CC-CD7FE0DAAE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48" y="4887053"/>
            <a:ext cx="1200149" cy="12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AB39DE3C-CDCC-724A-BB9E-78CAF2E049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58" y="3597197"/>
            <a:ext cx="1129705" cy="112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803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CFFF011-CC1A-495D-BBFA-DC383FD31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102108E-88F9-4C72-91F5-B708F8FCE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E206C42-6380-48CE-A80C-D03697C50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02BB2EB-0E36-4911-89F5-D612CC70D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2F848B3-D757-40D1-953B-2E0B988EF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715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96A18F-96AB-43CC-8EC0-FED81EB72E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A2E8258-D338-4873-A42C-15AE08E7C7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3260C7B-999C-4622-B92F-4E6761F40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57EC8D5-B73E-41C3-B5E5-0640435DD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F1B5B00-D104-4381-A095-47BDC8FEB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999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CFFF011-CC1A-495D-BBFA-DC383FD31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102108E-88F9-4C72-91F5-B708F8FCE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E206C42-6380-48CE-A80C-D03697C50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02BB2EB-0E36-4911-89F5-D612CC70D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2F848B3-D757-40D1-953B-2E0B988EF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448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21" Type="http://schemas.openxmlformats.org/officeDocument/2006/relationships/tags" Target="../tags/tag1.x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vmlDrawing" Target="../drawings/vmlDrawing1.vml"/><Relationship Id="rId29" Type="http://schemas.openxmlformats.org/officeDocument/2006/relationships/tags" Target="../tags/tag9.xml"/><Relationship Id="rId41" Type="http://schemas.openxmlformats.org/officeDocument/2006/relationships/tags" Target="../tags/tag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3.xml"/><Relationship Id="rId31" Type="http://schemas.openxmlformats.org/officeDocument/2006/relationships/tags" Target="../tags/tag11.xml"/><Relationship Id="rId44" Type="http://schemas.openxmlformats.org/officeDocument/2006/relationships/image" Target="../media/image7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931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52" r:id="rId4"/>
    <p:sldLayoutId id="2147483653" r:id="rId5"/>
    <p:sldLayoutId id="2147483654" r:id="rId6"/>
    <p:sldLayoutId id="2147483712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03F9210B-0E8C-470C-9AFE-A631E695B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4F93E87-097B-4EFB-ABCE-45DD2E37CA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E706769-5B30-4D57-AFE5-C4376BCED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87C15E-ECE1-4EE5-BF79-E8136BD6249D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C21EC83-0752-48B2-B11C-CEF1989CA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32E234A-7979-40C5-8FAE-CAE98B897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37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9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xmlns="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43" imgW="572" imgH="588" progId="TCLayout.ActiveDocument.1">
                  <p:embed/>
                </p:oleObj>
              </mc:Choice>
              <mc:Fallback>
                <p:oleObj name="think-cell Slide" r:id="rId43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xmlns="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xmlns="" id="{C4A855FC-965A-4859-83A9-629E80C693B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xmlns="" id="{06E07A66-B8BA-42E8-A0F6-6B0251CAA48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48640" y="6274555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xmlns="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3736"/>
            <a:ext cx="11082528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xmlns="" id="{564EB9F6-AC04-42ED-9CB6-6D01335D9982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 bwMode="blackGray"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xmlns="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xmlns="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xmlns="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xmlns="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xmlns="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xmlns="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xmlns="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xmlns="" id="{F4B31D41-9E38-4C47-B14A-953F41CF2048}"/>
              </a:ext>
            </a:extLst>
          </p:cNvPr>
          <p:cNvSpPr txBox="1"/>
          <p:nvPr userDrawn="1"/>
        </p:nvSpPr>
        <p:spPr>
          <a:xfrm>
            <a:off x="554736" y="83482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xmlns="" id="{6FC9F96D-D74F-4064-BE66-104F69CCE92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4567" y="2133600"/>
            <a:ext cx="4065671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568" y="2155825"/>
            <a:ext cx="2891817" cy="121828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xmlns="" id="{963CCBC6-05DA-41C5-8A26-02B4B8294556}"/>
              </a:ext>
            </a:extLst>
          </p:cNvPr>
          <p:cNvGrpSpPr/>
          <p:nvPr userDrawn="1"/>
        </p:nvGrpSpPr>
        <p:grpSpPr>
          <a:xfrm>
            <a:off x="10522738" y="4396889"/>
            <a:ext cx="944617" cy="1686504"/>
            <a:chOff x="7756825" y="4379430"/>
            <a:chExt cx="708462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xmlns="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xmlns="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xmlns="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xmlns="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xmlns="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xmlns="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xmlns="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xmlns="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xmlns="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xmlns="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xmlns="" id="{F23A354F-6D61-4076-98CC-072D54F2B9B5}"/>
              </a:ext>
            </a:extLst>
          </p:cNvPr>
          <p:cNvGrpSpPr/>
          <p:nvPr userDrawn="1"/>
        </p:nvGrpSpPr>
        <p:grpSpPr>
          <a:xfrm>
            <a:off x="10135957" y="3237562"/>
            <a:ext cx="1331385" cy="927508"/>
            <a:chOff x="7495285" y="2250552"/>
            <a:chExt cx="998539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xmlns="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xmlns="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xmlns="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xmlns="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xmlns="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xmlns="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xmlns="" id="{70A0319B-8EBB-4F65-9A96-1B1BB35625B1}"/>
              </a:ext>
            </a:extLst>
          </p:cNvPr>
          <p:cNvGrpSpPr/>
          <p:nvPr userDrawn="1"/>
        </p:nvGrpSpPr>
        <p:grpSpPr>
          <a:xfrm>
            <a:off x="10487412" y="1289274"/>
            <a:ext cx="979930" cy="1731859"/>
            <a:chOff x="7723680" y="1702457"/>
            <a:chExt cx="734948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xmlns="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xmlns="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xmlns="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xmlns="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xmlns="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xmlns="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xmlns="" id="{5282EEB0-B664-439C-B943-F7BB43CCAC0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xmlns="" id="{68D40D9B-9DF0-4077-8151-E93B0977AD0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xmlns="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xmlns="" id="{578B0A0D-F30C-40C1-A9C4-EB63E6138F4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xmlns="" id="{87395151-2586-43D8-B836-6324CB407891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xmlns="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xmlns="" id="{0D2DC89B-E4DB-4EBC-B12A-607EB3C23DE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xmlns="" id="{50301F1B-4914-4337-B892-733925FD1C5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xmlns="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xmlns="" id="{B9D4D141-7E0B-42D0-994A-D8212F69EE2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xmlns="" id="{397EC893-9249-44CD-982F-F7F0B99DFCA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xmlns="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xmlns="" id="{E8E291C3-4BCA-406E-8B9A-6A354B83EF5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xmlns="" id="{4C9C4DC9-D1E5-45F3-943E-09B75E72EE8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  <p:sp>
        <p:nvSpPr>
          <p:cNvPr id="141" name="Documenttype">
            <a:extLst>
              <a:ext uri="{FF2B5EF4-FFF2-40B4-BE49-F238E27FC236}">
                <a16:creationId xmlns:a16="http://schemas.microsoft.com/office/drawing/2014/main" xmlns="" id="{29A17418-B99F-4330-B927-CCF962E4661F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83260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C35157-6F8A-478F-B460-90E403728E59}" type="datetimeFigureOut">
              <a:rPr lang="en-US" smtClean="0"/>
              <a:t>28-Jan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38200" y="-18738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33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da.gov/media/144414/download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Relationship Id="rId5" Type="http://schemas.openxmlformats.org/officeDocument/2006/relationships/hyperlink" Target="https://www.fda.gov/media/146305/download" TargetMode="External"/><Relationship Id="rId4" Type="http://schemas.openxmlformats.org/officeDocument/2006/relationships/hyperlink" Target="https://www.fda.gov/media/144638/download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covid-19-vaccine-in-massachusett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hyperlink" Target="https://www.cdc.gov/vaccines/acip/index.html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xmlns="" id="{EC1C4EF3-3A8A-F442-8EF2-6A57E937ACE1}"/>
              </a:ext>
            </a:extLst>
          </p:cNvPr>
          <p:cNvSpPr txBox="1">
            <a:spLocks/>
          </p:cNvSpPr>
          <p:nvPr/>
        </p:nvSpPr>
        <p:spPr>
          <a:xfrm>
            <a:off x="843409" y="2057400"/>
            <a:ext cx="10703645" cy="15240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i="0" kern="1200" cap="all" baseline="0">
                <a:solidFill>
                  <a:srgbClr val="1C263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algn="ctr" rtl="0" fontAlgn="auto">
              <a:lnSpc>
                <a:spcPct val="130000"/>
              </a:lnSpc>
              <a:spcAft>
                <a:spcPts val="0"/>
              </a:spcAft>
              <a:defRPr/>
            </a:pPr>
            <a:r>
              <a:rPr lang="km" sz="4000" b="1" i="0" u="none" baseline="0" dirty="0">
                <a:solidFill>
                  <a:schemeClr val="bg1"/>
                </a:solidFill>
                <a:latin typeface="Khmer OS System" panose="02000500000000020004" pitchFamily="2" charset="0"/>
                <a:ea typeface="+mn-lt"/>
                <a:cs typeface="Khmer OS System" panose="02000500000000020004" pitchFamily="2" charset="0"/>
                <a:sym typeface="+mn-lt"/>
              </a:rPr>
              <a:t>សៀវភៅ​ណែអំពី​ការរៀបចំ​វេទិកា​សហគមន៍ស្តីពី​វ៉ាក់សាំងជំងឺ​ COVID-19</a:t>
            </a:r>
          </a:p>
          <a:p>
            <a:pPr lvl="0" algn="ctr" rtl="0" fontAlgn="auto">
              <a:lnSpc>
                <a:spcPct val="130000"/>
              </a:lnSpc>
              <a:spcAft>
                <a:spcPts val="0"/>
              </a:spcAft>
              <a:defRPr/>
            </a:pPr>
            <a:endParaRPr lang="km" sz="4000" dirty="0">
              <a:solidFill>
                <a:schemeClr val="bg1"/>
              </a:solidFill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lvl="0" algn="ctr" rtl="0" fontAlgn="auto">
              <a:lnSpc>
                <a:spcPct val="130000"/>
              </a:lnSpc>
              <a:spcAft>
                <a:spcPts val="0"/>
              </a:spcAft>
              <a:defRPr/>
            </a:pPr>
            <a:r>
              <a:rPr lang="km" sz="4000" b="1" i="1" u="none" baseline="0" dirty="0">
                <a:solidFill>
                  <a:schemeClr val="bg1"/>
                </a:solidFill>
                <a:latin typeface="Khmer OS System" panose="02000500000000020004" pitchFamily="2" charset="0"/>
                <a:ea typeface="+mn-lt"/>
                <a:cs typeface="Khmer OS System" panose="02000500000000020004" pitchFamily="2" charset="0"/>
                <a:sym typeface="+mn-lt"/>
              </a:rPr>
              <a:t>សំណៅ​បោះពុម្ពផ្សាយ​សម្រាប់​កុមារ​និង​ក្មេងជំទង់​</a:t>
            </a:r>
          </a:p>
        </p:txBody>
      </p:sp>
      <p:sp>
        <p:nvSpPr>
          <p:cNvPr id="5" name="Subtitle 3"/>
          <p:cNvSpPr txBox="1">
            <a:spLocks/>
          </p:cNvSpPr>
          <p:nvPr/>
        </p:nvSpPr>
        <p:spPr>
          <a:xfrm>
            <a:off x="1077428" y="5509127"/>
            <a:ext cx="10235609" cy="1295400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kern="1200">
                <a:solidFill>
                  <a:srgbClr val="1C263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km" sz="3200" b="0" i="0" u="none" baseline="0" dirty="0">
                <a:solidFill>
                  <a:schemeClr val="bg1"/>
                </a:solidFill>
                <a:latin typeface="Khmer OS System" panose="02000500000000020004" pitchFamily="2" charset="0"/>
                <a:cs typeface="Khmer OS System" panose="02000500000000020004" pitchFamily="2" charset="0"/>
              </a:rPr>
              <a:t>បានធ្វើបច្ចុប្បន្នភាព​នៅថ្ងៃ​</a:t>
            </a:r>
            <a:r>
              <a:rPr lang="km" sz="3200" b="0" i="0" u="none" baseline="0" dirty="0" smtClean="0">
                <a:solidFill>
                  <a:schemeClr val="bg1"/>
                </a:solidFill>
                <a:latin typeface="Khmer OS System" panose="02000500000000020004" pitchFamily="2" charset="0"/>
                <a:cs typeface="Khmer OS System" panose="02000500000000020004" pitchFamily="2" charset="0"/>
              </a:rPr>
              <a:t>ទី</a:t>
            </a:r>
            <a:r>
              <a:rPr lang="en-US" sz="3200" b="0" i="0" u="none" baseline="0" dirty="0" smtClean="0">
                <a:solidFill>
                  <a:schemeClr val="bg1"/>
                </a:solidFill>
                <a:latin typeface="Khmer OS System" panose="02000500000000020004" pitchFamily="2" charset="0"/>
                <a:cs typeface="Khmer OS System" panose="02000500000000020004" pitchFamily="2" charset="0"/>
              </a:rPr>
              <a:t>25</a:t>
            </a:r>
            <a:r>
              <a:rPr lang="km" sz="3200" b="0" i="0" u="none" baseline="0" dirty="0" smtClean="0">
                <a:solidFill>
                  <a:schemeClr val="bg1"/>
                </a:solidFill>
                <a:latin typeface="Khmer OS System" panose="02000500000000020004" pitchFamily="2" charset="0"/>
                <a:cs typeface="Khmer OS System" panose="02000500000000020004" pitchFamily="2" charset="0"/>
              </a:rPr>
              <a:t> </a:t>
            </a:r>
            <a:r>
              <a:rPr lang="km" sz="3200" b="0" i="0" u="none" baseline="0" dirty="0">
                <a:solidFill>
                  <a:schemeClr val="bg1"/>
                </a:solidFill>
                <a:latin typeface="Khmer OS System" panose="02000500000000020004" pitchFamily="2" charset="0"/>
                <a:cs typeface="Khmer OS System" panose="02000500000000020004" pitchFamily="2" charset="0"/>
              </a:rPr>
              <a:t>ខែមករា​ ឆ្នាំ​2022</a:t>
            </a:r>
          </a:p>
        </p:txBody>
      </p:sp>
    </p:spTree>
    <p:extLst>
      <p:ext uri="{BB962C8B-B14F-4D97-AF65-F5344CB8AC3E}">
        <p14:creationId xmlns:p14="http://schemas.microsoft.com/office/powerpoint/2010/main" val="1660228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CA49D0EE-DE7F-324B-A84C-F36708423CDB}" type="slidenum">
              <a:rPr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0</a:t>
            </a:fld>
            <a:endParaRPr lang="km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65688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spc="-7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​ផលរំខាន​ដែលអាច​កើត​មាន​នៃ​វ៉ាក់សាំង​ជំងឺ​ COVID-19 មាន​អ្វី​ខ្លះ​?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478571" y="973814"/>
            <a:ext cx="11713429" cy="536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" sz="2100" b="0" i="0" u="none" spc="-15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ផលរំខាន​ធ្ងន់ធ្ងរ​ពី​វ៉ាក់សាំង​ រួមទាំង​វ៉ាក់សាំង​ជំងឺ​ COVID-19 ផងដែរ គឺ​កម្រ​កើត​មាន​ណាស់។​ </a:t>
            </a:r>
          </a:p>
          <a:p>
            <a:pPr marL="342900" indent="-342900" algn="l" rtl="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ូនរបស់អ្នកអាចនឹង​មាន​ផលរំខាន​ខ្លះៗ​ ដែលនោះ​គឺជា​​សញ្ញា​ធម្មតា​ដែល​រាងកាយរបស់ពួកគេ​កំពុង​បង្កើតការការពារ​។</a:t>
            </a:r>
          </a:p>
          <a:p>
            <a:pPr marL="342900" indent="-342900" algn="l" rtl="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ផលរំខានទាំងនេះ​អាច​នឹងប៉ះពាល់​ដល់​សមត្ថភាព​របស់កូនអ្នក​ក្នុងការ​ធ្វើ​សកម្មភាព​​ប្រចាំថ្ងៃ​ ប៉ុន្តែ​ផលរំខាននោះនឹង​បាត់ទៅវិញ​ក្នុងរយៈពេល​ពីរ​បី​ថ្ងៃ​​។ </a:t>
            </a:r>
          </a:p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ផលរំខានទូទៅ​បំផុត​គឺ​មានសភាពស្រាល​ និងរួមមាន​៖</a:t>
            </a:r>
          </a:p>
          <a:p>
            <a:pPr marL="1200150" lvl="2" indent="-28575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ភាពអស់កម្លាំង​</a:t>
            </a:r>
          </a:p>
          <a:p>
            <a:pPr marL="1200150" lvl="2" indent="-28575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ឈឺក្បាល​ </a:t>
            </a:r>
          </a:p>
          <a:p>
            <a:pPr marL="1200150" lvl="2" indent="-28575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ឈឺចាប់​ត្រង់កន្លែង​ចាក់ថ្នាំ</a:t>
            </a:r>
          </a:p>
          <a:p>
            <a:pPr marL="1200150" lvl="2" indent="-28575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ឈឺសាច់ដុំ</a:t>
            </a:r>
          </a:p>
          <a:p>
            <a:pPr marL="1200150" lvl="2" indent="-28575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ព្រឺរងារ​ </a:t>
            </a:r>
          </a:p>
          <a:p>
            <a:pPr marL="1200150" lvl="2" indent="-28575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ចង្អោរ​ និង/ឬ​ក្អួត​</a:t>
            </a:r>
          </a:p>
          <a:p>
            <a:pPr marL="1200150" lvl="2" indent="-28575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គ្រុនក្តៅ</a:t>
            </a:r>
          </a:p>
        </p:txBody>
      </p:sp>
      <p:pic>
        <p:nvPicPr>
          <p:cNvPr id="5" name="Google Shape;741;p82" descr="This image is of five people wearing masks.">
            <a:extLst>
              <a:ext uri="{FF2B5EF4-FFF2-40B4-BE49-F238E27FC236}">
                <a16:creationId xmlns:a16="http://schemas.microsoft.com/office/drawing/2014/main" xmlns="" id="{8283A815-E6C2-49D6-BF93-3B2BF2832DC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29599" y="3390551"/>
            <a:ext cx="3263349" cy="289549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F087B7E-59EE-4240-9588-33516A0F843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km" b="0" i="0" u="none" baseline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 </a:t>
            </a:r>
            <a:endParaRPr lang="km" dirty="0"/>
          </a:p>
        </p:txBody>
      </p:sp>
    </p:spTree>
    <p:extLst>
      <p:ext uri="{BB962C8B-B14F-4D97-AF65-F5344CB8AC3E}">
        <p14:creationId xmlns:p14="http://schemas.microsoft.com/office/powerpoint/2010/main" val="1506873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CA49D0EE-DE7F-324B-A84C-F36708423CDB}" type="slidenum">
              <a:rPr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1</a:t>
            </a:fld>
            <a:endParaRPr lang="km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705576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spc="-7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អ្វី​ជា​ហានិភ័យនៃ​ជំងឺ​រលាកសាច់ដុំ​បេះ​ដូង​ (ការហើម​រលាក​បេះ​ដូង​​​)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478571" y="1037585"/>
            <a:ext cx="11580079" cy="14865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2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km" sz="2100" b="0" i="0" u="none" spc="-8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ជាទូទៅ​ ហានិភ័យនៃ​ផលរំខាន​ពីវ៉ាក់សាំង​ជំងឺ​ COVID-19 គឺ​មាន​ទាប​ខ្លាំង​នៅ​លើ​កុមារ​។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  </a:t>
            </a:r>
          </a:p>
          <a:p>
            <a:pPr marL="342900" indent="-342900" algn="l" rtl="0">
              <a:lnSpc>
                <a:spcPct val="12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មានករណី​កម្រ​កើត​មាន​ជំងឺ​រលាកសាច់ដុំបេះដូងទៅលើ​ក្មេងប្រុស​ជំទង់​ដែល​​មាន​ទំនាក់ទំនង​នឹង​ការចាក់វ៉ាក់សាំងជំងឺ​ ​​​COVID-19។​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F087B7E-59EE-4240-9588-33516A0F843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km" b="0" i="0" u="none" baseline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 </a:t>
            </a:r>
            <a:endParaRPr lang="km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AF364C3-A827-4B8E-AF6B-111A3F36A9E2}"/>
              </a:ext>
            </a:extLst>
          </p:cNvPr>
          <p:cNvSpPr txBox="1"/>
          <p:nvPr/>
        </p:nvSpPr>
        <p:spPr>
          <a:xfrm>
            <a:off x="480426" y="2663950"/>
            <a:ext cx="6572154" cy="342555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2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km" sz="2100" b="0" i="0" u="none" spc="4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ហានិភ័យ​នៃ​ការកើត​មាន​ជំងឺ​រលាក​សាច់ដុំ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បេះដូងដោយសារ​ការឆ្លង​ជំងឺ​ COVID-19 គឺ​</a:t>
            </a:r>
            <a:r>
              <a:rPr lang="km" sz="2100" b="0" i="0" u="none" spc="3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មានគ្រោះថ្នាក់ជាង​ការកើតមានជំងឺ​រលាក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សាច់ដុំបេះដូង​ក្រោយពេល​ទទួលវ៉ាក់សាំង​។</a:t>
            </a:r>
          </a:p>
          <a:p>
            <a:pPr marL="342900" indent="-342900" algn="l" rtl="0">
              <a:lnSpc>
                <a:spcPct val="12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ជំងឺ​ភាគច្រើន​ដែលមានជំងឺ​រលាយកសាច់ដុំបេះដូង​ដែល​​បាន​ទទួល​​ការ​ថែទាំ បាន​ឆ្លើយតប​យ៉ាង​ល្អ​ទៅនឹង​ឱសថ​និងការ​សម្រាក​ព្យាបាល​ </a:t>
            </a:r>
            <a:r>
              <a:rPr lang="km" sz="2100" b="0" i="0" u="none" spc="-17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និង​បាន​មានអារម្មណ៍​ធូរស្បើយយ៉ាង​ឆាប់រហ័ស</a:t>
            </a:r>
            <a:r>
              <a:rPr lang="km-KH" sz="2100" spc="-17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។</a:t>
            </a:r>
            <a:endParaRPr lang="km" sz="2100" b="0" i="0" u="none" spc="-17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155ABE77-4118-4355-8025-9AFCD461E0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2580" y="3287107"/>
            <a:ext cx="4831621" cy="2355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6872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73695" y="370103"/>
            <a:ext cx="12013375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2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ហេតុអ្វី​បានជា​កុមារ​និង​ក្មេងជំទង់ដែលមាន​ប្រតិកម្ម​អាលែកហ្ស៊ីគួរ​តែ​​​ទទួល</a:t>
            </a:r>
            <a:r>
              <a:rPr lang="en-US" sz="2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</a:t>
            </a:r>
            <a:r>
              <a:rPr lang="km" sz="2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ជំងឺ​ COVID-19?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506842" y="1123853"/>
            <a:ext cx="11356939" cy="5521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ុមារ​និង​ក្មេងជំទង់​មិនគួរ​ទទួល​វ៉ាក់សាំង​ជំងឺ​ COVID-19 ទេ​ ប្រសិន​បើ​ពួកគេ​​​មានប្រវត្តិ​ធ្លាប់កើតមានប្រតិកម្ម​អាលែកហ្ស៊ីធ្ងន់ធ្ងរ (ហៅផងដែរ​ថា​ "ប្រតិកម្មថ្នាំ​​") ទៅនឹង​សារធាតុផ្សំណាមួយ​​នៅក្នុង​វ៉ាក់សាំង។ </a:t>
            </a:r>
          </a:p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m" sz="2100" dirty="0">
              <a:highlight>
                <a:srgbClr val="FFFF00"/>
              </a:highlight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មិនមានផ្ទុកសារធាតុ​ស៊ុត ជេឡាទីន​ សារធាតុ​រក្សាទុកបានយូរ ឬ​ជ័រឈើឡើយ​។ តារាង​សារធាតុ​ផ្សំ​អាច​មាននៅលើ​៖</a:t>
            </a:r>
          </a:p>
          <a:p>
            <a:pPr marL="914400" lvl="1" indent="-34290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Pfizer/Comirnaty៖ 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  <a:hlinkClick r:id="rId3"/>
              </a:rPr>
              <a:t>https://www.fda.gov/media/144414/download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(ទំព័រ​3)</a:t>
            </a:r>
          </a:p>
          <a:p>
            <a:pPr marL="914400" lvl="1" indent="-34290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Moderna៖ 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  <a:hlinkClick r:id="rId4"/>
              </a:rPr>
              <a:t>https://www.fda.gov/media/144638/download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(ទំព័រ​2)</a:t>
            </a:r>
          </a:p>
          <a:p>
            <a:pPr marL="914400" lvl="1" indent="-34290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Janssen (J&amp;J)៖ 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  <a:hlinkClick r:id="rId5"/>
              </a:rPr>
              <a:t>https://www.fda.gov/media/146305/download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(ទំព័រ​2)</a:t>
            </a: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m" sz="2100" b="0" i="0" u="none" spc="8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ដែលមាន​ប្រវត្តិធ្លាប់​មានប្រតិកម្ម​អាលែកហ្ស៊ីធ្ងន់ធ្ងរ​ទៅនឹង​អ្វីផ្សេងទៀត​ដែល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មិនមាននៅក្នុង​វ៉ាក់សាំង​ (ដូចជា​បឺរសណ្តែកដីជាដើម​) គួរតែ​ពិភាក្សា​ជាមួយ​អ្នកផ្តល់សេវា​</a:t>
            </a:r>
            <a:r>
              <a:rPr lang="km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ថែទាំសុ</a:t>
            </a:r>
            <a:r>
              <a:rPr lang="km-KH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</a:t>
            </a:r>
            <a:r>
              <a:rPr lang="km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ខ</a:t>
            </a:r>
            <a:r>
              <a:rPr lang="km-KH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</a:t>
            </a:r>
            <a:r>
              <a:rPr lang="km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ភា</a:t>
            </a:r>
            <a:r>
              <a:rPr lang="km-KH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​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ព​</a:t>
            </a:r>
            <a:r>
              <a:rPr lang="km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របស់ពួក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គេ​ មុនពេល​ទទួល​វ៉ាក់សាំង​។</a:t>
            </a:r>
          </a:p>
          <a:p>
            <a:pPr>
              <a:lnSpc>
                <a:spcPct val="120000"/>
              </a:lnSpc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endParaRPr lang="km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 algn="l" rtl="0"/>
            <a:endParaRPr lang="km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325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478572" y="57983"/>
            <a:ext cx="11017888" cy="8863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>
              <a:lnSpc>
                <a:spcPct val="120000"/>
              </a:lnSpc>
            </a:pPr>
            <a:r>
              <a:rPr lang="km" sz="24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មាន​ក្តីបារម្ភ​អំពី​លទ្ធភាព​បន្តពូ</a:t>
            </a:r>
            <a:r>
              <a:rPr lang="km-KH" sz="24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ជ</a:t>
            </a:r>
            <a:r>
              <a:rPr lang="km" sz="24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 ឬ​ក្តីបារម្ភផ្នែក​លូតលាស់​ទៅលើ​កុមារ​ដែល​</a:t>
            </a:r>
            <a:r>
              <a:rPr lang="km" sz="2400" b="1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បានចាក់</a:t>
            </a:r>
            <a:r>
              <a:rPr lang="km" sz="24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នៅមុនពេល​ពួកគេ​ធំពេញវ័យ​ដែរឬទេ?​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4269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ទេ។ </a:t>
            </a:r>
          </a:p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km" sz="2100" b="0" i="0" dirty="0">
              <a:solidFill>
                <a:srgbClr val="000000"/>
              </a:solidFill>
              <a:effectLst/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គ្មានភស្តុតាង​ណាមួយ​បញ្ជាក់ថា​ វ៉ាក់សាំង​ណាមួយ​ រួមទាំង​វ៉ាក់សាំង​ជំងឺ​</a:t>
            </a:r>
            <a:r>
              <a:rPr lang="km-KH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</a:t>
            </a: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COVID-19 ផងដែរ​ អាច​បង្កបញ្ហា​បន្តពូជ​សម្រាប់បុរស​និងស្រ្តី​នោះទេ​។ </a:t>
            </a:r>
          </a:p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km" sz="2100" b="0" i="0" dirty="0">
              <a:solidFill>
                <a:srgbClr val="000000"/>
              </a:solidFill>
              <a:effectLst/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គ្មានភ​ស្តុតាង​ណាមួយ​បញ្ជាក់ថា​ សារធាតុផ្សំ​នៃ​វ៉ាក់សាំង​ ឬ​អង់ទីករ​ដែល​បាន​កើត​</a:t>
            </a:r>
            <a:r>
              <a:rPr lang="km" sz="2100" b="0" i="0" u="none" spc="7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មានក្រោយការចាក់វ៉ាក់សាំង​ជំងឺ​ COVID-19 នឹង​បង្ក​បញ្ហា​ណា​មួយ​ជាមួយនឹង</a:t>
            </a: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ការ​មាន​ផ្ទៃ​ពោះ​នោះទេ​។ ដូចគ្នានេះដែរ គ្មាន​ភស្តុតាង​ណាមួយបញ្ជាក់ថា​ វ៉ាក់សាំង​ជំងឺ COVID-19 </a:t>
            </a:r>
            <a:r>
              <a:rPr lang="km" sz="2100" b="0" i="0" u="none" baseline="0" dirty="0" smtClean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ប៉ះ​</a:t>
            </a:r>
            <a:r>
              <a:rPr lang="km-KH" sz="2100" b="0" i="0" u="none" baseline="0" dirty="0" smtClean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</a:t>
            </a:r>
            <a:r>
              <a:rPr lang="km" sz="2100" b="0" i="0" u="none" baseline="0" dirty="0" smtClean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ពាល់</a:t>
            </a:r>
            <a:r>
              <a:rPr lang="km-KH" sz="2100" b="0" i="0" u="none" baseline="0" dirty="0" smtClean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</a:t>
            </a:r>
            <a:r>
              <a:rPr lang="km" sz="2100" b="0" i="0" u="none" baseline="0" dirty="0" smtClean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ដល់</a:t>
            </a: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ភាព​ពេញវ័យនោះទេ​។​ </a:t>
            </a:r>
            <a:endParaRPr lang="km" sz="2100" b="0" i="0" dirty="0">
              <a:solidFill>
                <a:srgbClr val="000000"/>
              </a:solidFill>
              <a:effectLst/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>
              <a:lnSpc>
                <a:spcPct val="130000"/>
              </a:lnSpc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2437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311147" y="232573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វ៉ាក់សាំង​ជំងឺ​ COVID-19 ផ្លាស់ប្តូរ​ DNA របស់កូនខ្ញុំដែរឬទេ​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4713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ទេ។ វ៉ាក់សាំង​ជំងឺ​ COVID-19 មិនផ្លាស់ប្តូរ​ ឬ​មានអន្តរអំពើ​ជាមួយ​នឹង​ DNA របស់​យើង​ដោយប្រការណាមួយ​ឡើយ​។</a:t>
            </a:r>
          </a:p>
          <a:p>
            <a:pPr>
              <a:lnSpc>
                <a:spcPct val="130000"/>
              </a:lnSpc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285750" indent="-28575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បង្រៀនប្រព័ន្ធភាពស៊ាំរបស់យើងពីរបៀប​ប្រយុទ្ធប្រឆាំង​នឹង​វីរុស​ជាក់លាក់​</a:t>
            </a:r>
            <a:r>
              <a:rPr lang="km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ណាមួ</a:t>
            </a:r>
            <a:r>
              <a:rPr lang="km-KH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</a:t>
            </a:r>
            <a:r>
              <a:rPr lang="km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យ</a:t>
            </a:r>
            <a:r>
              <a:rPr lang="km-KH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</a:t>
            </a:r>
            <a:r>
              <a:rPr lang="km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។ </a:t>
            </a:r>
            <a:endParaRPr lang="km" sz="2100" b="0" i="0" u="none" baseline="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marL="285750" indent="-28575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285750" indent="-28575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ដើម្បី​បំពេញមុខងាររបស់ខ្លួន វ៉ាក់សាំង​ជំងឺ​ COVID-19 មិនចាំបាច់​ត្រូវចូល​ទៅក្នុង</a:t>
            </a:r>
            <a:r>
              <a:rPr lang="km" sz="2100" b="0" i="0" u="none" spc="4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ណ្វៃយ៉ូនៃ​កោសិកា ដែល​ជាកន្លែង​រក្សាទុក​ DNA របស់យើង​ទេ​។ នេះ​មានន័យ​ថា​ 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នោះ​មិនមានអន្តរអំពើ​ជាមួយ DNA របស់យើង​ដោយប្រការ​ណាមួយ និង​គ្មានផ្លូវ​អាច​ផ្លាស់ប្តូរ DNA នោះបានទេ​។ </a:t>
            </a:r>
          </a:p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 </a:t>
            </a:r>
          </a:p>
          <a:p>
            <a:pPr>
              <a:lnSpc>
                <a:spcPct val="130000"/>
              </a:lnSpc>
            </a:pPr>
            <a:endParaRPr lang="km" sz="2100" b="1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1099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317986" y="275968"/>
            <a:ext cx="1161415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spc="-30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កូនរបស់ខ្ញុំ​អាច​មានជំងឺ​ COVID-19 ពីវ៉ាក់សាំង​ជំងឺ​ COVID-19 ដែរឬទេ​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478572" y="1306392"/>
            <a:ext cx="11227876" cy="1021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>
              <a:lnSpc>
                <a:spcPct val="15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ទេ។ វ៉ាក់សាំង​នេះ​មិនមានផ្ទុក​វីរុស​មានជីវិត​ដែលបង្ក​ជំងឺ​ COVID-19 ទេ។ នេះ​មានន័យ​ថា​ </a:t>
            </a:r>
            <a:endParaRPr lang="km-KH" sz="2100" b="0" i="0" u="none" baseline="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5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ូនរបស់អ្នក​មិនអាច​មានជំងឺ​ COVID-19 ពីការចាក់​វ៉ាក់​សាំង​​បានទេ​។</a:t>
            </a:r>
          </a:p>
        </p:txBody>
      </p:sp>
      <p:pic>
        <p:nvPicPr>
          <p:cNvPr id="7" name="Google Shape;296;p78" descr="Five people of different ages waiting in lines to be vaccinated by a person in a medical coat.">
            <a:extLst>
              <a:ext uri="{FF2B5EF4-FFF2-40B4-BE49-F238E27FC236}">
                <a16:creationId xmlns:a16="http://schemas.microsoft.com/office/drawing/2014/main" xmlns="" id="{2F055C2B-AB1B-46EA-87CC-9EC61E3654F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44186" y="2312127"/>
            <a:ext cx="8361755" cy="41803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83475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311147" y="232573"/>
            <a:ext cx="11701429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វ៉ាក់សាំង​មានប្រសិទ្ធភាពប្រឆាំង​នឹង​វ៉ារ្យ៉ង​ជំងឺ​ COVID-19 ដែរ​ឬ​ទេ​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478572" y="1787203"/>
            <a:ext cx="8855928" cy="4269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ជាធម្មតា​ដែល​វីរុស​មានការ​ប្រែប្រួល​​ និងដែល​​​​មាន​ការលេចឡើង​នូវ</a:t>
            </a:r>
            <a:endParaRPr lang="km-KH" sz="2100" b="0" i="0" u="none" baseline="0" dirty="0">
              <a:solidFill>
                <a:srgbClr val="000000"/>
              </a:solidFill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30000"/>
              </a:lnSpc>
              <a:tabLst>
                <a:tab pos="457200" algn="l"/>
              </a:tabLst>
            </a:pPr>
            <a:r>
              <a:rPr lang="km-KH" sz="2100" dirty="0">
                <a:solidFill>
                  <a:srgbClr val="000000"/>
                </a:solidFill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   </a:t>
            </a: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វ៉ារ្យ៉ង់ថ្មី​ៗ​​។ </a:t>
            </a:r>
          </a:p>
          <a:p>
            <a:pPr marL="342900" marR="0" lvl="0" indent="-34290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km" sz="2100" dirty="0">
              <a:solidFill>
                <a:srgbClr val="000000"/>
              </a:solidFill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</a:endParaRPr>
          </a:p>
          <a:p>
            <a:pPr marL="342900" lvl="0" indent="-342900">
              <a:lnSpc>
                <a:spcPct val="13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km-KH" sz="2100" spc="20" dirty="0">
                <a:solidFill>
                  <a:srgbClr val="000000"/>
                </a:solidFill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រហូតមកដល់ពេលនេះ</a:t>
            </a:r>
            <a:r>
              <a:rPr lang="km" sz="2100" b="0" i="0" u="none" spc="2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ការសិក្សា​ស្រាវជ្រាវ​បង្ហាញថា វ៉ាក់សាំង</a:t>
            </a:r>
            <a:r>
              <a:rPr lang="km" sz="2100" b="0" i="0" u="none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ផ្តល់ការការពារ</a:t>
            </a: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ពី​វ៉ារ្យ៉ង់​ដែល​គេធ្លាប់បានស្គាល់។</a:t>
            </a:r>
            <a:endParaRPr lang="km" sz="2100" dirty="0">
              <a:effectLst/>
              <a:latin typeface="Khmer OS System" panose="02000500000000020004" pitchFamily="2" charset="0"/>
              <a:ea typeface="Times New Roman" panose="02020603050405020304" pitchFamily="18" charset="0"/>
              <a:cs typeface="Khmer OS System" panose="02000500000000020004" pitchFamily="2" charset="0"/>
            </a:endParaRPr>
          </a:p>
          <a:p>
            <a:pPr marL="342900" marR="0" lvl="0" indent="-34290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km" sz="2100" dirty="0">
              <a:solidFill>
                <a:srgbClr val="000000"/>
              </a:solidFill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</a:endParaRPr>
          </a:p>
          <a:p>
            <a:pPr marL="342900" marR="0" lvl="0" indent="-34290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km" sz="21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សូម្បីតែនៅពេល​ដែល​មនុស្សដែលបាន​ចាក់វ៉ាក់សាំង​ឆ្លង​ជំងឺ​ COVID-19 ក៏ពួកគេ​មានការការពារ​យ៉ាង​ល្អ​ប្រឆាំងនឹង​ជំងឺ​ធ្ងន់ធ្ងរ​និងការស្លាប់បាត់បង់​ជីវិត​ផងដែរ​។</a:t>
            </a:r>
          </a:p>
          <a:p>
            <a:pPr marR="0" lvl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pic>
        <p:nvPicPr>
          <p:cNvPr id="4" name="Picture 3" descr="A picture of a virus and the spikes on its surface.">
            <a:extLst>
              <a:ext uri="{FF2B5EF4-FFF2-40B4-BE49-F238E27FC236}">
                <a16:creationId xmlns:a16="http://schemas.microsoft.com/office/drawing/2014/main" xmlns="" id="{5B53736D-B02B-476C-83A1-92E3CB406E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5899" y="2088420"/>
            <a:ext cx="2906677" cy="2681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283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93152DB4-D43C-4445-AD74-C2E8D31C2990}"/>
              </a:ext>
            </a:extLst>
          </p:cNvPr>
          <p:cNvSpPr txBox="1"/>
          <p:nvPr/>
        </p:nvSpPr>
        <p:spPr>
          <a:xfrm>
            <a:off x="311147" y="232573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ហេតុអ្វី​បានជា​កុមារ​និង​ក្មេងជំទង់គួរតែ​ចាក់​វ៉ាក់សាំង​ដូសជំរុញ​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AD0A274-4627-4C86-868D-FFCD23654906}"/>
              </a:ext>
            </a:extLst>
          </p:cNvPr>
          <p:cNvSpPr/>
          <p:nvPr/>
        </p:nvSpPr>
        <p:spPr>
          <a:xfrm>
            <a:off x="438838" y="968024"/>
            <a:ext cx="11314324" cy="319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km" sz="2100" b="0" i="0" u="none" spc="-150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 COVID-19 មានប្រសិទ្ធភាពខ្ពស់​ក្នុងការបង្ការ​ការឈឺ​ធ្ងន់ធ្ងរ​ ការសម្រាកពេទ្យ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 </a:t>
            </a:r>
            <a:r>
              <a:rPr lang="km" sz="2100" b="0" i="0" u="none" spc="-6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និង​ការស្លាប់​បាត់បង់ជីវិត​។ ប៉ុន្តែ​អ្នកជំនាញ​ផ្នែកសុខភាពសាធារណៈ​កំពុង​ចាប់ផ្ត</a:t>
            </a:r>
            <a:r>
              <a:rPr lang="km-KH" sz="2100" spc="-6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ើ</a:t>
            </a:r>
            <a:r>
              <a:rPr lang="km" sz="2100" b="0" i="0" u="none" spc="-6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ម</a:t>
            </a:r>
            <a:r>
              <a:rPr lang="km-KH" sz="2100" b="0" i="0" u="none" spc="-6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មើលឃើញ​ពី​ការ​ការពារ​កាន់តែតិចតួច​ទៅ​ប្រឆាំងនឹង​ជំងឺ​កម្រិត​ស្រាល​និងមធ្យម​។ ដូស​ជំរុញរក្សា​ប្រសិទ្ធភាពវ៉ាក់សាំង​បានយូរជាងមុន​​។</a:t>
            </a:r>
            <a:endParaRPr lang="en-US" sz="2100" b="0" i="0" u="none" baseline="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marL="3429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ដែលមានអាយុ​ 12ឆ្នាំឡើងទៅ​ អាច​ទទួលវ៉ាក់សាំង​បាន ប្រសិនបើ៖</a:t>
            </a:r>
          </a:p>
          <a:p>
            <a:pPr marL="800100" lvl="1" indent="-342900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km" sz="2100" b="1" i="0" u="none" baseline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Pfizer</a:t>
            </a:r>
            <a:r>
              <a:rPr lang="en-US" sz="2100" b="1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&amp; </a:t>
            </a:r>
            <a:r>
              <a:rPr lang="km" sz="2100" b="1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Moderna ៖</a:t>
            </a:r>
            <a:r>
              <a:rPr lang="km" sz="2100" b="0" i="0" u="none" baseline="0" dirty="0" smtClean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មានរយៈពេល​យ៉ាង​តិច 5ខែ​ ចាប់តាំងពី​ដូសទីពីររបស់អ្នក​</a:t>
            </a:r>
          </a:p>
          <a:p>
            <a:pPr marL="800100" lvl="1" indent="-342900" algn="l" rtl="0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km" sz="2100" b="1" i="0" u="none" spc="-7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Johnson &amp; Johnson៖</a:t>
            </a:r>
            <a:r>
              <a:rPr lang="km" sz="2100" b="0" i="0" u="none" spc="-7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មានរយៈពេល​យ៉ាង​តិច 2ខែ​ ចាប់តាំងពី​ដូសទីមួយ​របស់អ្នក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145BB11A-F37C-4E38-886E-9DA254E85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6362" y="4507970"/>
            <a:ext cx="4876800" cy="1875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128089D-30D1-4D7D-BF8E-13C93E14008F}"/>
              </a:ext>
            </a:extLst>
          </p:cNvPr>
          <p:cNvSpPr/>
          <p:nvPr/>
        </p:nvSpPr>
        <p:spPr>
          <a:xfrm>
            <a:off x="438838" y="4816054"/>
            <a:ext cx="657995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ប្រសិនបើអ្នក​មានអាយុ​ 12-17ឆ្នាំ អ្នក​​អាច​ទទួលបាន​ដូស​ជំរុញ​តែ​​វ៉ាក់សាំងប្រភេទ​ Pfizer តែ​ប៉ុណ្ណោះ​។ ម្យ៉ាងទៀត អ្នក​អាច​ជ្រើសរើស​ថា​វ៉ាក់សាំង​ដូស​ជំរុញ​ណាមួយ​ដែល​អ្នក​ចង់​បាន​។  </a:t>
            </a:r>
            <a:endParaRPr lang="km" sz="2100" dirty="0">
              <a:solidFill>
                <a:srgbClr val="000000"/>
              </a:solidFill>
              <a:effectLst/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</a:endParaRPr>
          </a:p>
          <a:p>
            <a: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1959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/>
            <a:r>
              <a:rPr lang="km" b="1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តើខ្ញុំធ្វើការណាត់ជួប​ពិគ្រោះ​ដូចម្តេច​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5192" y="1301531"/>
            <a:ext cx="9365558" cy="5056409"/>
          </a:xfrm>
        </p:spPr>
        <p:txBody>
          <a:bodyPr>
            <a:noAutofit/>
          </a:bodyPr>
          <a:lstStyle/>
          <a:p>
            <a:pPr algn="l" rtl="0">
              <a:lnSpc>
                <a:spcPct val="140000"/>
              </a:lnSpc>
            </a:pPr>
            <a:r>
              <a:rPr lang="km" sz="2000" b="0" i="0" u="none" spc="-130" dirty="0">
                <a:latin typeface="Khmer OS System" panose="02000500000000020004" pitchFamily="2" charset="0"/>
                <a:cs typeface="Khmer OS System" panose="02000500000000020004" pitchFamily="2" charset="0"/>
              </a:rPr>
              <a:t>ចូលទៅកាន់​ VaxFinder.mass.gov ដើម្បីស្វែងរក​ការណាត់ជួបពិគ្រោះ</a:t>
            </a:r>
            <a:r>
              <a:rPr lang="km" sz="2000" b="0" i="0" u="none" spc="-130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​​ (រួម​ទាំង​ដូសជំរុញ​ផងដែរ) </a:t>
            </a:r>
            <a:r>
              <a:rPr lang="km" sz="20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នៅតាម​ឱសថស្ថាន​ អ្នកផ្តល់សេវាថែទាំ​សុខភាព និង​ទីតាំង​តាមសហគមន៍​ផ្សេងទៀត។ </a:t>
            </a:r>
          </a:p>
          <a:p>
            <a:pPr marL="0" indent="0" algn="l" rtl="0">
              <a:lnSpc>
                <a:spcPct val="140000"/>
              </a:lnSpc>
              <a:spcBef>
                <a:spcPts val="0"/>
              </a:spcBef>
              <a:buNone/>
            </a:pPr>
            <a:endParaRPr lang="km" sz="3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algn="l" rtl="0">
              <a:lnSpc>
                <a:spcPct val="140000"/>
              </a:lnSpc>
            </a:pPr>
            <a:r>
              <a:rPr lang="km" sz="20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អ្នកអាចកំណត់តាម​ប្រភេទដែល​វ៉ាក់សាំង​ត្រូវបានផ្តល់ជូន​ ដើម្បី​ឲ្យ​</a:t>
            </a:r>
            <a:r>
              <a:rPr lang="km" sz="2000" b="0" i="0" u="none" spc="30" dirty="0">
                <a:latin typeface="Khmer OS System" panose="02000500000000020004" pitchFamily="2" charset="0"/>
                <a:cs typeface="Khmer OS System" panose="02000500000000020004" pitchFamily="2" charset="0"/>
              </a:rPr>
              <a:t>អ្នក​ដែល​​មានអាយុ​ក្រោម​ 18ឆ្នាំ​អាច​ស្វែងរក​ទីតាំង​ដែលផ្តល់ជូន​តែ</a:t>
            </a:r>
            <a:r>
              <a:rPr lang="en-US" sz="2000" b="0" i="0" u="none" spc="30" dirty="0">
                <a:latin typeface="Khmer OS System" panose="02000500000000020004" pitchFamily="2" charset="0"/>
                <a:cs typeface="Khmer OS System" panose="02000500000000020004" pitchFamily="2" charset="0"/>
              </a:rPr>
              <a:t> </a:t>
            </a:r>
            <a:r>
              <a:rPr lang="km" sz="20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​វ៉ាក់សាំង Pfizer/Comirnaty ប៉ុណ្ណោះ។ ​</a:t>
            </a:r>
          </a:p>
          <a:p>
            <a:pPr algn="l" rtl="0">
              <a:lnSpc>
                <a:spcPct val="140000"/>
              </a:lnSpc>
            </a:pPr>
            <a:endParaRPr lang="km" sz="3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algn="l" rtl="0">
              <a:lnSpc>
                <a:spcPct val="140000"/>
              </a:lnSpc>
            </a:pPr>
            <a:r>
              <a:rPr lang="km" sz="20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អ្នកក៏អាច​កំណត់តាមប្រភេទ​ទីតាំង​ដែល​កំពុងផ្តល់​វ៉ាក់សាំង​ដូសជំរុញ​តាមជម្រើស​របស់អ្នក​។</a:t>
            </a:r>
          </a:p>
          <a:p>
            <a:pPr marL="457200" lvl="1" indent="0" algn="l" rtl="0">
              <a:lnSpc>
                <a:spcPct val="14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km" sz="300" spc="-17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</a:endParaRPr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300"/>
              </a:spcAft>
            </a:pPr>
            <a:r>
              <a:rPr lang="km" sz="2000" b="0" i="0" u="none" spc="-170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អ្នកដែល​</a:t>
            </a:r>
            <a:r>
              <a:rPr lang="km" sz="2000" b="1" i="0" u="none" spc="-170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មិនអាចប្រើប្រាស់​អ៊ីនធឺណិត​បាន</a:t>
            </a:r>
            <a:r>
              <a:rPr lang="km" sz="2000" b="0" i="0" u="none" spc="-170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 អាចទូរសព្ទ​ទៅកាន់​ខ្សែ​ទូរសព្ទ​​</a:t>
            </a:r>
            <a:r>
              <a:rPr lang="km" sz="20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ធនធាន​</a:t>
            </a:r>
            <a:r>
              <a:rPr lang="km" sz="2000" dirty="0">
                <a:latin typeface="Khmer OS System" panose="02000500000000020004" pitchFamily="2" charset="0"/>
                <a:cs typeface="Khmer OS System" panose="02000500000000020004" pitchFamily="2" charset="0"/>
              </a:rPr>
              <a:t>កំណត់​ពេលវេលា</a:t>
            </a:r>
            <a:r>
              <a:rPr lang="km" sz="20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វ៉ាក់សាំង​រដ្ឋ​ម៉ាសាជូសេត​</a:t>
            </a:r>
            <a:r>
              <a:rPr lang="km-KH" sz="2000" dirty="0">
                <a:latin typeface="Khmer OS System" panose="02000500000000020004" pitchFamily="2" charset="0"/>
                <a:cs typeface="Khmer OS System" panose="02000500000000020004" pitchFamily="2" charset="0"/>
              </a:rPr>
              <a:t>លេខ៖</a:t>
            </a:r>
            <a:r>
              <a:rPr lang="km" sz="2000" b="1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 2-1-1 </a:t>
            </a:r>
            <a:r>
              <a:rPr lang="km" sz="20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(877-211-6277)</a:t>
            </a:r>
          </a:p>
        </p:txBody>
      </p:sp>
      <p:pic>
        <p:nvPicPr>
          <p:cNvPr id="7" name="Picture 6" descr="This image has four pictures, including a computer with the mass.gov website, pins from a map, and a checklist. ">
            <a:extLst>
              <a:ext uri="{FF2B5EF4-FFF2-40B4-BE49-F238E27FC236}">
                <a16:creationId xmlns:a16="http://schemas.microsoft.com/office/drawing/2014/main" xmlns="" id="{EC56C721-BC2A-40D2-9621-95DAF3D021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9376" y="1209803"/>
            <a:ext cx="1747432" cy="494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443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CA49D0EE-DE7F-324B-A84C-F36708423CDB}" type="slidenum">
              <a:rPr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9</a:t>
            </a:fld>
            <a:endParaRPr lang="km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ខ្ញុំចាំបាច់ត្រូវបង់​ប្រាក់សម្រាប់វ៉ាក់សាំងនេះ​ដែរឬទេ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478571" y="1175762"/>
            <a:ext cx="9938417" cy="43057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ទេ។ វ៉ាក់សាំង​នេះ​ (រួមទាំង​ដូសជំរុញ​ផងដែរ) គឺ​</a:t>
            </a:r>
            <a:r>
              <a:rPr lang="km" sz="21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ឥត​គិត​ថ្លៃ​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សម្រាប់អ្នក​រស់នៅក្នុង​រដ្ឋ​ម៉ាសាជូសេត​។</a:t>
            </a:r>
          </a:p>
          <a:p>
            <a:pPr marL="800100" lvl="1" indent="-342900" algn="l" rtl="0">
              <a:buFont typeface="Courier New" panose="02070309020205020404" pitchFamily="49" charset="0"/>
              <a:buChar char="o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800100" lvl="1" indent="-342900" algn="l" rtl="0"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​នឹង​មិនត្រូវបាន​ស្នើសុំ​លេខ​ប័ណ្ណឥណទាន​ដើម្បីធ្វើការណាត់ជួប​ទេ​។</a:t>
            </a:r>
          </a:p>
          <a:p>
            <a:pPr marL="800100" lvl="1" indent="-342900" algn="l" rtl="0">
              <a:buFont typeface="Courier New" panose="02070309020205020404" pitchFamily="49" charset="0"/>
              <a:buChar char="o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800100" lvl="1" indent="-342900" algn="l" rtl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អាច​ទទួលបានវ៉ាក់សាំង បើទោះបីជា​អ្នក៖ </a:t>
            </a:r>
          </a:p>
          <a:p>
            <a:pPr lvl="1" algn="l" rtl="0">
              <a:lnSpc>
                <a:spcPct val="12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    គ្មាន​ធានារ៉ាប់រង និង​ប័ណ្ណបើកបរ​​ </a:t>
            </a:r>
          </a:p>
          <a:p>
            <a:pPr lvl="1" algn="l" rtl="0">
              <a:lnSpc>
                <a:spcPct val="12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    ឬ​លេខរបបសន្តិសុខសង្គម​។</a:t>
            </a:r>
            <a:r>
              <a:rPr lang="km" sz="2100" dirty="0">
                <a:latin typeface="Khmer OS System" panose="02000500000000020004" pitchFamily="2" charset="0"/>
                <a:cs typeface="Khmer OS System" panose="02000500000000020004" pitchFamily="2" charset="0"/>
              </a:rPr>
              <a:t/>
            </a:r>
            <a:br>
              <a:rPr lang="km" sz="2100" dirty="0">
                <a:latin typeface="Khmer OS System" panose="02000500000000020004" pitchFamily="2" charset="0"/>
                <a:cs typeface="Khmer OS System" panose="02000500000000020004" pitchFamily="2" charset="0"/>
              </a:rPr>
            </a:b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800100" lvl="1" indent="-342900" algn="l" rtl="0">
              <a:buFont typeface="Courier New" panose="02070309020205020404" pitchFamily="49" charset="0"/>
              <a:buChar char="o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285750" lvl="0" indent="-285750" algn="l" rtl="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endParaRPr lang="km" sz="2100" b="1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pic>
        <p:nvPicPr>
          <p:cNvPr id="7" name="Google Shape;563;p19" descr="Group of people wearing masks">
            <a:extLst>
              <a:ext uri="{FF2B5EF4-FFF2-40B4-BE49-F238E27FC236}">
                <a16:creationId xmlns:a16="http://schemas.microsoft.com/office/drawing/2014/main" xmlns="" id="{FBD1468A-49C7-4C55-8901-9A6A290702A6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36228" y="3033486"/>
            <a:ext cx="4486366" cy="3268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8392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9EB489F-C3F8-44C1-9BB9-00F5D6FE8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5935"/>
            <a:ext cx="10515600" cy="315032"/>
          </a:xfrm>
        </p:spPr>
        <p:txBody>
          <a:bodyPr>
            <a:normAutofit fontScale="90000"/>
          </a:bodyPr>
          <a:lstStyle/>
          <a:p>
            <a:pPr algn="ctr" rtl="0"/>
            <a:r>
              <a:rPr lang="km" sz="3200" b="1" dirty="0">
                <a:latin typeface="Khmer OS System" panose="02000500000000020004" pitchFamily="2" charset="0"/>
                <a:cs typeface="Khmer OS System" panose="02000500000000020004" pitchFamily="2" charset="0"/>
              </a:rPr>
              <a:t/>
            </a:r>
            <a:br>
              <a:rPr lang="km" sz="3200" b="1" dirty="0">
                <a:latin typeface="Khmer OS System" panose="02000500000000020004" pitchFamily="2" charset="0"/>
                <a:cs typeface="Khmer OS System" panose="02000500000000020004" pitchFamily="2" charset="0"/>
              </a:rPr>
            </a:br>
            <a:r>
              <a:rPr lang="km" sz="3200" b="1" i="0" u="none" baseline="0" dirty="0">
                <a:latin typeface="Khmer OS System" panose="02000500000000020004" pitchFamily="2" charset="0"/>
                <a:ea typeface="+mn-lt"/>
                <a:cs typeface="Khmer OS System" panose="02000500000000020004" pitchFamily="2" charset="0"/>
                <a:sym typeface="+mn-lt"/>
              </a:rPr>
              <a:t>ការណែនាំសម្រាប់​ការប្រើប្រាស់​សៀវភៅណែនាំ​នេះ​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640ACD5-A597-48EA-981B-26A084A0EC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38" y="1291770"/>
            <a:ext cx="11343861" cy="5257133"/>
          </a:xfrm>
        </p:spPr>
        <p:txBody>
          <a:bodyPr>
            <a:normAutofit/>
          </a:bodyPr>
          <a:lstStyle/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សៀវភៅណែនាំនេះ​ត្រូវបាន​រចនាឡើង​ដើម្បី​ឲ្យ​អ្នកផ្តល់សេវា ក្រុម​សហគមន៍ និង​អ្នកផ្សេងទៀតធ្វើការរៀបចំ​កិច្ច​ប្រជុំតាមមូលដ្ឋាន​​ ឬ​វេទិកា​ស្តី​អំពីវ៉ាក់សាំង​ជំងឺ​ COVID-19 </a:t>
            </a:r>
            <a:r>
              <a:rPr lang="km" sz="2100" b="1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សម្រាប់កុមារ​និង​ក្មេងជំទង់​។ </a:t>
            </a:r>
          </a:p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វារួមបញ្ចូលនូវ​ព័ត៌មាន​ពី​ក្រសួង​សុខភាព​សាធារណៈរដ្ឋ​ម៉ាសាជូសេត​ (DPH) នៅក្នុងការ​​ឆ្លើយតបទៅនឹង​សំណួរដែល​សាកសួរ​ទូទៅ​។</a:t>
            </a:r>
          </a:p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មាន​ចំណុចពិភាក្សា​បន្ថែម​​នៅក្នុង​ផ្នែក​កំណត់សម្គាល់​នៃ​ស្លាយ​នីមួយៗ​។</a:t>
            </a:r>
          </a:p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អ្នកអាចប្រើប្រាស់​ខ្លឹមសារ​ខ្លះៗ​ឬ​ទាំងស្រុងបាន ផ្អែកតាម​ចំណាប់អារម្មណ៍​និងតម្រូវការ​របស់</a:t>
            </a:r>
            <a:r>
              <a:rPr lang="km" sz="2100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​</a:t>
            </a:r>
            <a:r>
              <a:rPr lang="km-KH" sz="2100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​</a:t>
            </a:r>
          </a:p>
          <a:p>
            <a:pPr marL="0" indent="0" algn="l" rtl="0">
              <a:lnSpc>
                <a:spcPct val="130000"/>
              </a:lnSpc>
              <a:buNone/>
            </a:pPr>
            <a:r>
              <a:rPr lang="km-KH" sz="210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   </a:t>
            </a:r>
            <a:r>
              <a:rPr lang="km" sz="2100" b="0" i="0" u="none" baseline="0" dirty="0" smtClean="0">
                <a:latin typeface="Khmer OS System" panose="02000500000000020004" pitchFamily="2" charset="0"/>
                <a:cs typeface="Khmer OS System" panose="02000500000000020004" pitchFamily="2" charset="0"/>
              </a:rPr>
              <a:t>សហ</a:t>
            </a: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គមន៍​របស់អ្នក​។​​​  </a:t>
            </a:r>
          </a:p>
          <a:p>
            <a:pPr marL="731520" lvl="1" indent="-365760" algn="l" rtl="0">
              <a:lnSpc>
                <a:spcPct val="130000"/>
              </a:lnSpc>
              <a:buFont typeface="Courier New" panose="02070309020205020404" pitchFamily="49" charset="0"/>
              <a:buChar char="o"/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ព័ត៌មានបន្ថែម​ដើម្បី​ផ្តល់ដំណឹង​ទៅដល់​វេទិកា​របស់អ្នក​ អាច​ស្វែងរកបាន​នៅលើ​ </a:t>
            </a: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  <a:hlinkClick r:id="rId3"/>
              </a:rPr>
              <a:t>https://www.mass.gov/covid-19-vaccine-in-massachusetts</a:t>
            </a: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89554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0" y="179093"/>
            <a:ext cx="12145601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>
              <a:lnSpc>
                <a:spcPct val="120000"/>
              </a:lnSpc>
            </a:pPr>
            <a:r>
              <a:rPr lang="km" sz="3000" b="1" i="0" u="none" spc="-20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នរណា​អាចជួយ​ធ្វើការសម្រេចចិត្ត​អំពីការ​អនុញ្ញាត​ឲ្យកូនខ្ញុំបានចាក់វ៉ាក់សាំង​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395900" y="1830479"/>
            <a:ext cx="5676900" cy="30089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ប្រសិនបើអ្នក​មានសំណួរ​បន្ថែមទៀត​អំពី​</a:t>
            </a:r>
            <a:endParaRPr lang="km-KH" sz="2100" b="0" i="0" u="none" baseline="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សុខភាព​របស់</a:t>
            </a:r>
            <a:r>
              <a:rPr lang="km-KH" sz="210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 ឬ​អំពីការ​សម្រេច​​ចិត្ត​ក្នុង</a:t>
            </a:r>
            <a:endParaRPr lang="km-KH" sz="2100" b="0" i="0" u="none" baseline="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ារ​ទទួល​វ៉ាក់សាំង​ សូមពិភាក្សា​ជាមួយ​អ្នក</a:t>
            </a:r>
            <a:endParaRPr lang="km-KH" sz="2100" b="0" i="0" u="none" baseline="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ផ្តល់សេវា​សុខភាព​ដែលអាច</a:t>
            </a:r>
            <a:r>
              <a:rPr lang="km" sz="2100" b="0" i="0" u="none" spc="-10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ទុកចិត្ត​បាន </a:t>
            </a:r>
            <a:endParaRPr lang="km-KH" sz="2100" b="0" i="0" u="none" spc="-10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30000"/>
              </a:lnSpc>
            </a:pPr>
            <a:r>
              <a:rPr lang="km" sz="2100" b="0" i="0" u="none" spc="-10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ដូចជា​វេជ្ជបណ្ឌិត​របស់កូនអ្នក 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គិលានុបដ្ឋាក </a:t>
            </a:r>
            <a:endParaRPr lang="km-KH" sz="2100" b="0" i="0" u="none" baseline="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30000"/>
              </a:lnSpc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គ្រប់គ្រងការថែទាំ​ដែល</a:t>
            </a:r>
            <a:r>
              <a:rPr lang="km" sz="2100" b="0" i="0" u="none" spc="7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មានធានារ៉ាប់រង </a:t>
            </a:r>
            <a:endParaRPr lang="km-KH" sz="2100" b="0" i="0" u="none" spc="7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30000"/>
              </a:lnSpc>
            </a:pPr>
            <a:r>
              <a:rPr lang="km" sz="2100" b="0" i="0" u="none" spc="-5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ឱសថការី ឬ​បុគ្គលិក​</a:t>
            </a:r>
            <a:r>
              <a:rPr lang="km" sz="2100" b="0" i="0" u="none" spc="-50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សុខាភិបាល​សហគមន៍។​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 </a:t>
            </a: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pic>
        <p:nvPicPr>
          <p:cNvPr id="19458" name="Picture 2" descr="This is a picture of two people wearing masks standing in front of a medical building.">
            <a:extLst>
              <a:ext uri="{FF2B5EF4-FFF2-40B4-BE49-F238E27FC236}">
                <a16:creationId xmlns:a16="http://schemas.microsoft.com/office/drawing/2014/main" xmlns="" id="{CF19B3FD-7D43-41BC-B7D8-4C8C94724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487606"/>
            <a:ext cx="5747982" cy="4299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365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CA49D0EE-DE7F-324B-A84C-F36708423CDB}" type="slidenum">
              <a:rPr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3</a:t>
            </a:fld>
            <a:endParaRPr lang="km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305541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​វ៉ាក់សាំង​ជាអ្វី? ហើយ​វាមានប្រសិទ្ធភាព​ដូចម្តេច​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504498" y="1377720"/>
            <a:ext cx="11687502" cy="46893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បង្ការ​ជំងឺ​ដែលអាច​មានគ្រោះថ្នាក់ ឬអាចបណ្តាលឲ្យ​ស្លាប់បង់​ជីវិត​​ទៀត​ផង។​ ពួកវាដំណើរការ​រួមគ្នា​ជាមួយ​​ប្រព័ន្ធការពារធម្មជាតិ​របស់រាងកាយ​អ្នក​ ដើម្បី​បង្កើត​ការការពារ​យ៉ាង​មានសុវត្ថិភាព​ពីជំងឺ​ណាមួយ​។  </a:t>
            </a:r>
          </a:p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វ៉ាក់សាំង​ជួយឲ្យប្រព័ន្ធភាព​ស៊ាំរបស់អ្នក​ផលិត​អង់ទីករ​ ប្រៀប​ដូចជា​ការ​បង្កើត​អង់ទីករនៅពេលដែល​អ្នកបាន​ឆ្លង​​ជំងឺ​នោះដែរ​។​ ក្រោយចាក់វ៉ាក់សាំង​ អ្នក​ទទួលបានការការពារ​ពីជំងឺ​នោះ​ ដោយមិនចាំបាច់​ត្រូវកើត​មាន​​ជំងឺនោះ​ជាមុនសិននោះទេ​។</a:t>
            </a:r>
          </a:p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នេះ​គឺ​ជាអ្វីដែល​ធ្វើឲ្យ​វ៉ាក់សាំង​ក្លាយ​ជា​ឱសថ​ដ៏មានអនុភាព​បែបនេះ​។ វ៉ាក់សាំង​គឺ​​</a:t>
            </a:r>
            <a:r>
              <a:rPr lang="km" sz="2100" b="0" i="1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បង្ការ​</a:t>
            </a: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ជំងឺ មិនដូចជា​ឱសថ​ភាគច្រើនដែល​ព្យាបាល​ ឬ​ធ្វើ​ឲ្យ​ជា​សះ​ស្បើយ​ជំងឺ​នោះទេ ។​​​</a:t>
            </a:r>
          </a:p>
          <a:p>
            <a:pPr>
              <a:lnSpc>
                <a:spcPct val="130000"/>
              </a:lnSpc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728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CA49D0EE-DE7F-324B-A84C-F36708423CDB}" type="slidenum">
              <a:rPr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4</a:t>
            </a:fld>
            <a:endParaRPr lang="km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52400" y="233825"/>
            <a:ext cx="1193210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ហេតុអ្វី​បានជា​កុមារ​និង​ក្មេងជំទង់គួរតែ​ទទួលវ៉ាក់សាំង​ជំងឺ​ COVID-19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357062" y="1065709"/>
            <a:ext cx="11314322" cy="25473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ារចាក់វ៉ាក់សាំង​អាច​ជួយ​ការពារកុមារ​និង​ក្មេងជំទង់​ពីការ​ឈឺ​​ធ្ងន់ធ្ងរ​ បើទោះបីពួកគេ​មានជំងឺ​ COVID-19 ក៏ដោយ។</a:t>
            </a:r>
          </a:p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km" sz="2100" b="0" i="0" u="none" spc="-1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ារចាក់វ៉ាក់សាំង​អាច​ជួយការពារ​សមាជិកគ្រួសារ រួមទាំង​បងប្អូន​បង្កើត​ដែលមិនមាន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សិទ្ធិទទួលបានការចាក់វ៉ាក់សាំង​ និង​សមាជិកគ្រួសារ​ដែល​អាច​នឹង​មានហានិភ័យ​ខ្ពស់​ប្រឈមនឹង​ការឈឺ​ធ្ងន់ធ្ងរ​ ប្រសិនបើពួកគេ​ឆ្លង​ជំងឺ​។</a:t>
            </a: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F9035D7-C735-42DE-B403-9166C00182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2292" y="3814848"/>
            <a:ext cx="5892211" cy="24861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B2BE508-DEE0-4777-90A4-244CE88AF258}"/>
              </a:ext>
            </a:extLst>
          </p:cNvPr>
          <p:cNvSpPr txBox="1"/>
          <p:nvPr/>
        </p:nvSpPr>
        <p:spPr>
          <a:xfrm>
            <a:off x="453353" y="4024708"/>
            <a:ext cx="556087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ារចាក់វ៉ាក់សាំង​ដល់កុមារ​និងក្មេងជំទង់​ អាច​ជួយ​ឲ្យពួកគេ​បន្ត​ចូ​ល​រៀន​នៅ​សាលា និងជួយ​ពួកគេ​ឲ្យចូលរួម​យ៉ាង​មានសុវត្ថិភាព​ទៅក្នុងសកម្មភាព​ កីឡា ការ​​ជួបជុំ​គ្នា​លេងកម្សាន្ត​ និង​សកម្មភាពជាក្រុមផ្សេងទៀត។​​ </a:t>
            </a:r>
          </a:p>
        </p:txBody>
      </p:sp>
    </p:spTree>
    <p:extLst>
      <p:ext uri="{BB962C8B-B14F-4D97-AF65-F5344CB8AC3E}">
        <p14:creationId xmlns:p14="http://schemas.microsoft.com/office/powerpoint/2010/main" val="395645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CA49D0EE-DE7F-324B-A84C-F36708423CDB}" type="slidenum">
              <a:rPr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5</a:t>
            </a:fld>
            <a:endParaRPr lang="km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87612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មាន​វ៉ាក់សាំងអ្វីខ្លះ​សម្រាប់កុមា​រ​និងក្មេងជំទង់?​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354842" y="1283607"/>
            <a:ext cx="9098597" cy="4797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12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បីប្រភេទ​ត្រូវបាន​ឯកភាព​ ឬ​បាន​ទទួលការអនុញ្ញាត​សម្រាប់​ការ​ប្រើប្រាស់បន្ទាន់​ពី​រដ្ឋបាល​ចំណីអាហារ​និង​ឱសថ​៖​ Pfizer/Comirnaty, Moderna និង​ Janssen (Johnson &amp; Johnson)។</a:t>
            </a:r>
          </a:p>
          <a:p>
            <a:pPr marL="342900" indent="-342900" algn="l" rtl="0">
              <a:lnSpc>
                <a:spcPct val="112000"/>
              </a:lnSpc>
              <a:buFont typeface="Arial" panose="020B0604020202020204" pitchFamily="34" charset="0"/>
              <a:buChar char="•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12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​វ៉ាក់សាំង​ជំងឺ​ COVID-19 ទាំង​បីប្រភេទ សុទ្ធតែ​មានសុវត្ថិភាព និង​</a:t>
            </a:r>
            <a:r>
              <a:rPr lang="km" sz="2100" b="0" i="0" u="none" spc="-150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មាន​ប្រសិទ្ធ​ភាពខ្ពស់​ប្រឆាំង​នឹងការឈឺ​​ធ្ងន់ធ្ងរ​ ការចូលសម្រាកពេទ្យ</a:t>
            </a:r>
            <a:r>
              <a:rPr lang="km" sz="2100" b="0" i="0" u="none" baseline="0" dirty="0">
                <a:latin typeface="Khmer OS System" panose="02000500000000020004" pitchFamily="2" charset="0"/>
                <a:cs typeface="Khmer OS System" panose="02000500000000020004" pitchFamily="2" charset="0"/>
              </a:rPr>
              <a:t>​ និង​ការ​ស្លាប់​បាត់បង់ជីវិត​។​</a:t>
            </a:r>
          </a:p>
          <a:p>
            <a:pPr marL="342900" indent="-342900" algn="l" rtl="0">
              <a:lnSpc>
                <a:spcPct val="112000"/>
              </a:lnSpc>
              <a:buFont typeface="Arial" panose="020B0604020202020204" pitchFamily="34" charset="0"/>
              <a:buChar char="•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12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​ Pfizer/Comirnaty គឺ​មានផ្តល់ជូនដល់មនុស្សដែលមានអាយុ​ 5ឆ្នាំ​ឡើង​​ទៅ​។ </a:t>
            </a:r>
          </a:p>
          <a:p>
            <a:pPr marL="342900" indent="-342900" algn="l" rtl="0">
              <a:lnSpc>
                <a:spcPct val="112000"/>
              </a:lnSpc>
              <a:buFont typeface="Arial" panose="020B0604020202020204" pitchFamily="34" charset="0"/>
              <a:buChar char="•"/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12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វ៉ាក់សាំង Moderna និង​ Johnson &amp; Johnson គឺ​មានផ្តល់ជូន​សម្រាប់​មនុស្ស​ដែលមានអាយុ​ 18ឆ្នាំឡើងទៅ​។ </a:t>
            </a:r>
          </a:p>
        </p:txBody>
      </p:sp>
      <p:pic>
        <p:nvPicPr>
          <p:cNvPr id="5" name="Picture 4" descr="This is an image of a medicine bottle that is labeled &quot;COVID-19 vaccine&quot;">
            <a:extLst>
              <a:ext uri="{FF2B5EF4-FFF2-40B4-BE49-F238E27FC236}">
                <a16:creationId xmlns:a16="http://schemas.microsoft.com/office/drawing/2014/main" xmlns="" id="{BE55B62F-4DC4-490E-BD71-34766C9A61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3439" y="1901277"/>
            <a:ext cx="2407335" cy="341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06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52121" y="327656"/>
            <a:ext cx="1201337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វ៉ាក់សាំង​ជំងឺ​ COVID-19 មានសុវត្ថិភាព​សម្រាប់​កុមារ​ដែរឬទេ​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418664" y="1163250"/>
            <a:ext cx="7715686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m" sz="20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បាទ/ចាស។ CDC ណែនាំ​អ្នកដែលមានអាយុ 5ឆ្នាំឡ</a:t>
            </a:r>
            <a:r>
              <a:rPr lang="km-KH" sz="200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ើង</a:t>
            </a:r>
            <a:r>
              <a:rPr lang="km" sz="20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ទៅ​</a:t>
            </a:r>
            <a:endParaRPr lang="en-US" sz="2000" b="0" i="0" u="none" baseline="0" dirty="0">
              <a:latin typeface="Khmer OS System" panose="02000500000000020004" pitchFamily="2" charset="0"/>
              <a:ea typeface="Calibri" panose="020F0502020204030204" pitchFamily="34" charset="0"/>
              <a:cs typeface="Khmer OS System" panose="02000500000000020004" pitchFamily="2" charset="0"/>
              <a:sym typeface="Calibri" panose="020F0502020204030204" pitchFamily="34" charset="0"/>
            </a:endParaRPr>
          </a:p>
          <a:p>
            <a:pPr algn="l" rtl="0">
              <a:lnSpc>
                <a:spcPct val="120000"/>
              </a:lnSpc>
              <a:spcAft>
                <a:spcPts val="1200"/>
              </a:spcAft>
            </a:pPr>
            <a:r>
              <a:rPr lang="en-US" sz="200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    </a:t>
            </a:r>
            <a:r>
              <a:rPr lang="km" sz="20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ឲ្យ​ទទួល​វ៉ាក់សាំង COVID-19។</a:t>
            </a:r>
            <a:endParaRPr lang="km" sz="20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m" sz="2000" b="0" i="0" u="none" spc="-150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អ្នក​វិទ្យាសាស្ត្រ​បានធ្វើ​ការពិសោធន៍សាកល្បងវេជ្ជសាស្ត្រ</a:t>
            </a:r>
            <a:r>
              <a:rPr lang="km" sz="20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</a:t>
            </a:r>
            <a:r>
              <a:rPr lang="km" sz="2000" b="0" i="0" u="none" spc="-150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ទៅលើ​កុមារ​រាប់ពាន់នាក់​ និង​បាន​កំណត់ថា​វាក់សាំង​នេះ</a:t>
            </a:r>
            <a:r>
              <a:rPr lang="km" sz="2000" b="0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​មានសុវត្ថិភាព​និងប្រសិទ្ធភាព​។  </a:t>
            </a:r>
            <a:endParaRPr lang="km" sz="20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  <a:p>
            <a:pPr marL="342900" indent="-342900" algn="l" rt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m" sz="20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cs typeface="Khmer OS System" panose="02000500000000020004" pitchFamily="2" charset="0"/>
              </a:rPr>
              <a:t>វ៉ាក់សាំងជំងឺ​ COVID-19 កំពុង​ត្រូវបានត្រួតពិនិត្យ​មើល​សុវត្ថិភាព​តាម​រយៈ​ប្រព័ន្ធត្រួតពិនិត្យ​សុវត្ថិភាព​គ្រប់ជ្រុង​</a:t>
            </a:r>
            <a:r>
              <a:rPr lang="km" sz="2000" b="0" i="0" u="none" spc="3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cs typeface="Khmer OS System" panose="02000500000000020004" pitchFamily="2" charset="0"/>
              </a:rPr>
              <a:t>ជ្រោយ​ និងយ៉ាង​ហ្មត់ចត់​​នៅក្នុង​ប្រវត្តិសាស្ត្រ​សហរដ្ឋ</a:t>
            </a:r>
            <a:r>
              <a:rPr lang="km" sz="2000" b="0" i="0" u="none" baseline="0" dirty="0">
                <a:solidFill>
                  <a:srgbClr val="000000"/>
                </a:solidFill>
                <a:effectLst/>
                <a:latin typeface="Khmer OS System" panose="02000500000000020004" pitchFamily="2" charset="0"/>
                <a:cs typeface="Khmer OS System" panose="02000500000000020004" pitchFamily="2" charset="0"/>
              </a:rPr>
              <a:t>អាមេរិក​។ </a:t>
            </a:r>
            <a:endParaRPr lang="km" sz="20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 algn="l" rtl="0"/>
            <a:endParaRPr lang="km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oogle Shape;611;p25" descr="Group of young people with arms around each other.">
            <a:extLst>
              <a:ext uri="{FF2B5EF4-FFF2-40B4-BE49-F238E27FC236}">
                <a16:creationId xmlns:a16="http://schemas.microsoft.com/office/drawing/2014/main" xmlns="" id="{3D504A1A-94AC-4E5D-B5A1-7388D5DD361F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903477" y="1358162"/>
            <a:ext cx="4288523" cy="308543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6C3DDE04-0110-413F-8DFC-FF3DD6C07CCD}"/>
              </a:ext>
            </a:extLst>
          </p:cNvPr>
          <p:cNvSpPr txBox="1"/>
          <p:nvPr/>
        </p:nvSpPr>
        <p:spPr>
          <a:xfrm>
            <a:off x="418664" y="4760407"/>
            <a:ext cx="1019991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m" sz="2100" b="0" i="0" u="none" baseline="0" dirty="0">
                <a:effectLst/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កុមារ​អាច​នឹង​មាន​ផលរំខាន​ខ្លះ​ៗ​ពីវ៉ាក់សាំងនេះ ដូចគ្នាទៅនឹងផលរំខាន​ដែលឃើញមានលើ​មនុស្ស​ពេញវ័យ​ និង​ដូចគ្នានឹង​វ៉ាក់សាំង​ផ្សេងទៀតដែរ​។ ទាំងនេះ​គឺជា​សញ្ញា​ធម្មតា​ដែល​រាងកាយរបស់ពួកគេ​កំពុង​បង្កើតការការពារ​ និង​គួរតែ​បាត់ទៅវិញ​ក្នុងរយៈពេល​ពីរ​ឬបីថ្ងៃ​។</a:t>
            </a:r>
          </a:p>
          <a:p>
            <a:pPr>
              <a:lnSpc>
                <a:spcPct val="120000"/>
              </a:lnSpc>
            </a:pPr>
            <a:endParaRPr lang="km"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5110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80"/>
          <p:cNvSpPr txBox="1">
            <a:spLocks noGrp="1"/>
          </p:cNvSpPr>
          <p:nvPr>
            <p:ph type="sldNum" idx="12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/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900"/>
                <a:buNone/>
              </a:pPr>
              <a:t>7</a:t>
            </a:fld>
            <a:endParaRPr sz="900" b="0" i="0" u="none" strike="noStrike" cap="none">
              <a:solidFill>
                <a:srgbClr val="B5B5B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5" name="Google Shape;415;p80" descr="lmage of three people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07903" y="3178085"/>
            <a:ext cx="1590350" cy="1581257"/>
          </a:xfrm>
          <a:prstGeom prst="rect">
            <a:avLst/>
          </a:prstGeom>
          <a:noFill/>
          <a:ln>
            <a:noFill/>
          </a:ln>
        </p:spPr>
      </p:pic>
      <p:pic>
        <p:nvPicPr>
          <p:cNvPr id="416" name="Google Shape;416;p80" descr="lmage of six people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751523" y="4863450"/>
            <a:ext cx="1503115" cy="1494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17" name="Google Shape;417;p80" descr="Image of a syringe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668725" y="1598888"/>
            <a:ext cx="1668700" cy="1579198"/>
          </a:xfrm>
          <a:prstGeom prst="rect">
            <a:avLst/>
          </a:prstGeom>
          <a:noFill/>
          <a:ln>
            <a:noFill/>
          </a:ln>
        </p:spPr>
      </p:pic>
      <p:sp>
        <p:nvSpPr>
          <p:cNvPr id="418" name="Google Shape;418;p80"/>
          <p:cNvSpPr txBox="1"/>
          <p:nvPr/>
        </p:nvSpPr>
        <p:spPr>
          <a:xfrm>
            <a:off x="3490475" y="2126888"/>
            <a:ext cx="834900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m" sz="2400" b="0" i="0" u="none" baseline="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មនុស្ស​ក្នុងក្រុមតូចៗទទួលបាន​វ៉ាក់សាំង​ពិសោធន៍សាកល្បង​</a:t>
            </a:r>
            <a:endParaRPr sz="2400" dirty="0"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sp>
        <p:nvSpPr>
          <p:cNvPr id="419" name="Google Shape;419;p80"/>
          <p:cNvSpPr txBox="1"/>
          <p:nvPr/>
        </p:nvSpPr>
        <p:spPr>
          <a:xfrm>
            <a:off x="3490475" y="3125465"/>
            <a:ext cx="8349000" cy="1625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m" sz="2400" b="0" i="0" u="none" baseline="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វ៉ាក់សាំង​ត្រូវបានផ្តល់ជូន​ដល់ក្រុមមនុស្សជាក់លាក់​មួយចំនួន​ (ឧទាហរណ៍ មនុស្ស​តាមវ័យ​ ពូជសាសន៍ ឬ​សុខភាព​រាងកាយ​ជាក់លាក់ណា​​មួយ)។ </a:t>
            </a:r>
            <a:endParaRPr sz="24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420" name="Google Shape;420;p80"/>
          <p:cNvSpPr txBox="1"/>
          <p:nvPr/>
        </p:nvSpPr>
        <p:spPr>
          <a:xfrm>
            <a:off x="3490475" y="5059855"/>
            <a:ext cx="6950002" cy="1144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m" sz="2400" b="0" i="0" u="none" baseline="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វ៉ាក់សាំង​ត្រូវបានផ្តល់ជូន​ដល់មនុស្ស​រាប់​ម៉ឺននាក់ និងបានធ្វើតេស្ត​រកមើល​ប្រសិទ្ធភាព​និងសុវត្ថិភាព​។</a:t>
            </a:r>
            <a:endParaRPr sz="2400" dirty="0">
              <a:solidFill>
                <a:schemeClr val="dk1"/>
              </a:solidFill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sp>
        <p:nvSpPr>
          <p:cNvPr id="421" name="Google Shape;421;p80"/>
          <p:cNvSpPr txBox="1"/>
          <p:nvPr/>
        </p:nvSpPr>
        <p:spPr>
          <a:xfrm>
            <a:off x="347050" y="1075700"/>
            <a:ext cx="973290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km" sz="2400" b="0" i="0" u="none" baseline="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វ៉ាក់សាំង​ឆ្លងកាត់​ការធ្វើតេស្ត​ច្រើនជាងឱសថ​ផ្សេងទៀត៖ </a:t>
            </a:r>
            <a:endParaRPr sz="2400" dirty="0">
              <a:solidFill>
                <a:schemeClr val="dk1"/>
              </a:solidFill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pic>
        <p:nvPicPr>
          <p:cNvPr id="422" name="Google Shape;422;p80" descr="Number 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506750" y="1708538"/>
            <a:ext cx="548400" cy="523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23" name="Google Shape;423;p80" descr="Number 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506750" y="3287662"/>
            <a:ext cx="548400" cy="5198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24" name="Google Shape;424;p80" descr="Number 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506750" y="4863450"/>
            <a:ext cx="548400" cy="5602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476549BD-3453-4644-BC83-EC240D19A907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យើង​ដឹងថា​វ៉ាក់សាំង​នោះ​មានប្រសិទ្ធភាព​ដូចម្តេច​?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g79ce8b2f6a_0_51"/>
          <p:cNvSpPr txBox="1">
            <a:spLocks noGrp="1"/>
          </p:cNvSpPr>
          <p:nvPr>
            <p:ph type="sldNum" idx="12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/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900"/>
                <a:buNone/>
              </a:pPr>
              <a:t>8</a:t>
            </a:fld>
            <a:endParaRPr sz="900" b="0" i="0" u="none" strike="noStrike" cap="none">
              <a:solidFill>
                <a:srgbClr val="B5B5B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2" name="Google Shape;432;g79ce8b2f6a_0_51" descr="Check mark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2813" y="3146125"/>
            <a:ext cx="1669436" cy="1645275"/>
          </a:xfrm>
          <a:prstGeom prst="rect">
            <a:avLst/>
          </a:prstGeom>
          <a:noFill/>
          <a:ln>
            <a:noFill/>
          </a:ln>
        </p:spPr>
      </p:pic>
      <p:sp>
        <p:nvSpPr>
          <p:cNvPr id="433" name="Google Shape;433;g79ce8b2f6a_0_51"/>
          <p:cNvSpPr txBox="1"/>
          <p:nvPr/>
        </p:nvSpPr>
        <p:spPr>
          <a:xfrm>
            <a:off x="3460899" y="1571125"/>
            <a:ext cx="8336359" cy="1735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m" sz="2100" b="0" i="0" u="sng" spc="-50" dirty="0">
                <a:solidFill>
                  <a:srgbClr val="0070C0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គណកម្មាធិការ​ប្រឹក្សា​យោបល់​អំពីការអនុវត្ត​ការ​ចាក់ថ្នាំបង្ការ</a:t>
            </a:r>
            <a:r>
              <a:rPr lang="km" sz="2100" b="0" i="0" u="sng" baseline="0" dirty="0">
                <a:solidFill>
                  <a:srgbClr val="0070C0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​</a:t>
            </a:r>
            <a:r>
              <a:rPr lang="km" sz="2100" b="0" i="0" u="sng" spc="-30" dirty="0">
                <a:solidFill>
                  <a:srgbClr val="0070C0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របស់ </a:t>
            </a:r>
            <a:r>
              <a:rPr lang="km" sz="2100" b="0" i="0" u="none" spc="-30" dirty="0">
                <a:solidFill>
                  <a:srgbClr val="0070C0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CDC</a:t>
            </a:r>
            <a:r>
              <a:rPr lang="km" sz="2100" b="0" i="0" u="none" spc="-30" dirty="0">
                <a:solidFill>
                  <a:srgbClr val="0070C0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 </a:t>
            </a:r>
            <a:r>
              <a:rPr lang="km" sz="2100" b="0" i="0" u="none" spc="-3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ពិនិត្យមើល​ទិន្នន័យ​ដើម្បី​ដឹង​ថា​តើ​វ៉ាក់សាំង​មាន</a:t>
            </a:r>
            <a:r>
              <a:rPr lang="km" sz="2100" b="0" i="0" u="none" baseline="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ប្រសិទ្ធភាព​និង​សុវត្ថិភាព​ដែរឬទេ។ ពួកគេ​ផ្តល់យោបល់​ទៅ</a:t>
            </a:r>
            <a:r>
              <a:rPr lang="km" sz="2100" b="0" i="0" u="none" spc="-5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ដល់​រដ្ឋបាល​ចំណីអាហារ​និង​ឱសថ​សហរដ្ឋ​អាមេរិក​ (FDA)។</a:t>
            </a:r>
            <a:endParaRPr sz="2100" spc="-50" dirty="0">
              <a:solidFill>
                <a:schemeClr val="dk1"/>
              </a:solidFill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sp>
        <p:nvSpPr>
          <p:cNvPr id="434" name="Google Shape;434;g79ce8b2f6a_0_51"/>
          <p:cNvSpPr txBox="1"/>
          <p:nvPr/>
        </p:nvSpPr>
        <p:spPr>
          <a:xfrm>
            <a:off x="3460900" y="3537813"/>
            <a:ext cx="8150400" cy="9971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m" sz="2100" b="0" i="0" u="none" baseline="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FDA ពិនិត្យមើលទិន្នន័យ​ និង​យោបល់​ពីគណៈកម្មាធិការ​ប្រឹក្សា​យោបល់​ និង​សម្រេចថាតើ​ត្រូវឯកភាព​លើវ៉ាក់សាំង​នេះ​ដែរឬអត់​។</a:t>
            </a:r>
            <a:endParaRPr sz="2100" dirty="0">
              <a:solidFill>
                <a:schemeClr val="dk1"/>
              </a:solidFill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pic>
        <p:nvPicPr>
          <p:cNvPr id="435" name="Google Shape;435;g79ce8b2f6a_0_51" descr="Image of a piece of paper and magnifying glass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503187" y="1349123"/>
            <a:ext cx="1668700" cy="16446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6" name="Google Shape;436;g79ce8b2f6a_0_51" descr="Number 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295025" y="1350250"/>
            <a:ext cx="615075" cy="5602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7" name="Google Shape;437;g79ce8b2f6a_0_51" descr="Number 5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295025" y="3342331"/>
            <a:ext cx="615075" cy="546593"/>
          </a:xfrm>
          <a:prstGeom prst="rect">
            <a:avLst/>
          </a:prstGeom>
          <a:noFill/>
          <a:ln>
            <a:noFill/>
          </a:ln>
        </p:spPr>
      </p:pic>
      <p:sp>
        <p:nvSpPr>
          <p:cNvPr id="438" name="Google Shape;438;g79ce8b2f6a_0_51" descr="The vaccine is only approved after all of these steps are done and various teams of reviewers are sure that it works and is safe.&#10;"/>
          <p:cNvSpPr/>
          <p:nvPr/>
        </p:nvSpPr>
        <p:spPr>
          <a:xfrm>
            <a:off x="1625100" y="4895148"/>
            <a:ext cx="9308400" cy="1295052"/>
          </a:xfrm>
          <a:prstGeom prst="rect">
            <a:avLst/>
          </a:prstGeom>
          <a:solidFill>
            <a:srgbClr val="D7EAFC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m" sz="2100" b="0" i="0" u="none" spc="5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វ៉ាក់សាំង​នោះ​ត្រូវបានឯកភាព​ លុះត្រាតែ​ក្រោយពេលដែល​</a:t>
            </a:r>
            <a:r>
              <a:rPr lang="km" sz="2100" b="1" i="0" u="none" spc="5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ជំហាន</a:t>
            </a:r>
            <a:r>
              <a:rPr lang="km" sz="2100" b="1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ទាំងអស់នេះ​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 </a:t>
            </a:r>
            <a:r>
              <a:rPr lang="km" sz="2100" b="0" i="0" u="none" baseline="0" dirty="0">
                <a:solidFill>
                  <a:schemeClr val="dk1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ត្រូវបានអនុវត្ត​ ហើយ​ក្រុមត្រួតពិនិត្យផ្សេងៗ​ដឹងច្បាស់ថា​វាមានប្រសិទ្ធភាព​និងសុវត្ថិភាព​។</a:t>
            </a:r>
            <a:endParaRPr sz="2100" dirty="0">
              <a:latin typeface="Khmer OS System" panose="02000500000000020004" pitchFamily="2" charset="0"/>
              <a:cs typeface="Khmer OS System" panose="02000500000000020004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1BA9E1A-725B-4EBC-9974-F1B9658FEA6C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baseline="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យើង​ដឹងថា​វ៉ាក់សាំង​នោះ​មានសុវត្ថិភាព​ដូចម្តេច​?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81"/>
          <p:cNvSpPr/>
          <p:nvPr/>
        </p:nvSpPr>
        <p:spPr>
          <a:xfrm>
            <a:off x="201900" y="1004772"/>
            <a:ext cx="11227800" cy="1311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km" sz="2400" b="0" i="0" u="none" strike="noStrike" cap="none" baseline="0" dirty="0">
                <a:solidFill>
                  <a:srgbClr val="000000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ពេលវេលា​ត្រូវបានពន្លឿន​ ប៉ុន្តែ​មិន​មើល​​រំលង​ផ្នែកសុវត្ថិភាព​ណាមួយ​ឡើយ​។ </a:t>
            </a:r>
            <a:r>
              <a:rPr lang="en-US" sz="2400" b="0" i="0" u="none" strike="noStrike" cap="none" baseline="0" dirty="0">
                <a:solidFill>
                  <a:srgbClr val="000000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       </a:t>
            </a:r>
            <a:r>
              <a:rPr lang="km" sz="2400" b="0" i="0" u="none" strike="noStrike" cap="none" baseline="0" dirty="0">
                <a:solidFill>
                  <a:srgbClr val="000000"/>
                </a:solidFill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នេះ​ជា​មធ្យោបាយ៖</a:t>
            </a:r>
            <a:endParaRPr sz="2400" b="1" i="1" u="none" strike="noStrike" cap="none" dirty="0">
              <a:solidFill>
                <a:srgbClr val="000000"/>
              </a:solidFill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rgbClr val="000000"/>
              </a:solidFill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pic>
        <p:nvPicPr>
          <p:cNvPr id="446" name="Google Shape;446;p81" descr="Open book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2426" y="1732493"/>
            <a:ext cx="1684106" cy="1659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47" name="Google Shape;447;p81" descr="Dollar sign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815800" y="1732493"/>
            <a:ext cx="1684107" cy="169419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8" name="Google Shape;448;p81" descr="Magnifying glass and clipboard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795010" y="4131290"/>
            <a:ext cx="1684107" cy="1746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" name="Google Shape;449;p81" descr="Person raising hand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18276" y="4068077"/>
            <a:ext cx="1786059" cy="1822735"/>
          </a:xfrm>
          <a:prstGeom prst="rect">
            <a:avLst/>
          </a:prstGeom>
          <a:noFill/>
          <a:ln>
            <a:noFill/>
          </a:ln>
        </p:spPr>
      </p:pic>
      <p:sp>
        <p:nvSpPr>
          <p:cNvPr id="450" name="Google Shape;450;p81"/>
          <p:cNvSpPr/>
          <p:nvPr/>
        </p:nvSpPr>
        <p:spPr>
          <a:xfrm>
            <a:off x="2048701" y="1947251"/>
            <a:ext cx="3746310" cy="16434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m" sz="2100" b="1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យើង​មាន​ព័ត៌មាន​ដ៏មានប្រយោជន៍​ពីមុនមក​​​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ស្តីពី​វីរុស</a:t>
            </a:r>
            <a:endParaRPr lang="en-US" sz="2100" dirty="0"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កូរ៉ូណា​ ដូច្នេះ​យើងមិនបាន​</a:t>
            </a:r>
            <a:r>
              <a:rPr lang="km" sz="2100" b="0" i="0" u="none" spc="-10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ចាប់</a:t>
            </a:r>
            <a:endParaRPr lang="en-US" sz="2100" b="0" i="0" u="none" spc="-100" dirty="0"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m" sz="2100" b="0" i="0" u="none" spc="-10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ផ្តើ​ម​ពី​ចំណុចសូន្យទៅទេ​​។ </a:t>
            </a:r>
            <a:endParaRPr sz="2100" b="0" i="0" u="none" strike="noStrike" cap="none" spc="-100" dirty="0"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sp>
        <p:nvSpPr>
          <p:cNvPr id="451" name="Google Shape;451;p81"/>
          <p:cNvSpPr/>
          <p:nvPr/>
        </p:nvSpPr>
        <p:spPr>
          <a:xfrm>
            <a:off x="7616270" y="1870694"/>
            <a:ext cx="4404280" cy="1772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30000"/>
              </a:lnSpc>
              <a:spcAft>
                <a:spcPts val="0"/>
              </a:spcAft>
              <a:buNone/>
            </a:pPr>
            <a:r>
              <a:rPr lang="km" sz="2100" b="0" i="0" u="none" spc="-7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សហរដ្ឋ​អាមេរិក​ និង​រដ្ឋាភិបាល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​</a:t>
            </a:r>
            <a:r>
              <a:rPr lang="km" sz="2100" b="0" i="0" u="none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ផ្សេងទៀត​ </a:t>
            </a:r>
            <a:r>
              <a:rPr lang="km" sz="2100" b="1" i="0" u="none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បានវិនិយោគ​ទឹក​ប្រាក់</a:t>
            </a:r>
            <a:r>
              <a:rPr lang="km" sz="2100" b="1" i="0" u="none" spc="-10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​</a:t>
            </a:r>
            <a:r>
              <a:rPr lang="km" sz="2100" b="1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ជា​ច្រើន ​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ដើម្បីគាំទ្រដល់ក្រុមហ៊ុនវ៉ាក់សាំង​​តាមរយៈការងាររបស់ពួកគេ​។ </a:t>
            </a:r>
            <a:endParaRPr sz="2100" b="1" dirty="0"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sp>
        <p:nvSpPr>
          <p:cNvPr id="452" name="Google Shape;452;p81"/>
          <p:cNvSpPr/>
          <p:nvPr/>
        </p:nvSpPr>
        <p:spPr>
          <a:xfrm>
            <a:off x="2048700" y="4117816"/>
            <a:ext cx="3767100" cy="203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20000"/>
              </a:lnSpc>
              <a:spcAft>
                <a:spcPts val="0"/>
              </a:spcAft>
              <a:buNone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មន</a:t>
            </a:r>
            <a:r>
              <a:rPr lang="km-KH" sz="210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ុ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ស្ស​ជាច្រើន​បានចូលរួម​ក្នុង​ការពិសោធន៍សាកល្បង​បែបវេជ្ជសាស្ត្រ​ ហើយ​</a:t>
            </a:r>
            <a:r>
              <a:rPr lang="km" sz="2100" b="1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យើងមិនចាំបាច់​ចំណាយពេល​ស្វែងរកអ្នកស្ម័គ្រចិត្ត​ទេ​។  </a:t>
            </a:r>
            <a:endParaRPr sz="2100" b="0" i="0" u="none" strike="noStrike" cap="none" dirty="0"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sp>
        <p:nvSpPr>
          <p:cNvPr id="453" name="Google Shape;453;p81"/>
          <p:cNvSpPr/>
          <p:nvPr/>
        </p:nvSpPr>
        <p:spPr>
          <a:xfrm>
            <a:off x="7616270" y="4131290"/>
            <a:ext cx="4236000" cy="203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20000"/>
              </a:lnSpc>
              <a:spcAft>
                <a:spcPts val="0"/>
              </a:spcAft>
              <a:buNone/>
            </a:pP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ការផលិត​បានប្រព្រឹត្តទៅ​</a:t>
            </a:r>
            <a:r>
              <a:rPr lang="km" sz="2100" b="1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ដំណាលគ្នានឹងការសិក្សាអំពី​សុវត្ថិភាពដែរ​  </a:t>
            </a:r>
            <a:r>
              <a:rPr lang="km" sz="2100" b="0" i="0" u="none" baseline="0" dirty="0">
                <a:latin typeface="Khmer OS System" panose="02000500000000020004" pitchFamily="2" charset="0"/>
                <a:ea typeface="Calibri"/>
                <a:cs typeface="Khmer OS System" panose="02000500000000020004" pitchFamily="2" charset="0"/>
                <a:sym typeface="Calibri"/>
              </a:rPr>
              <a:t>ដូច្នេះ​វ៉ាក់សាំង​បានត្រៀមរួចរាល់​ក្នុងការចែកចាយ​ នៅពេលណា​ពួកវា​ទទួល​​បានការឯកភាព​។</a:t>
            </a:r>
            <a:endParaRPr sz="2100" b="0" i="0" u="none" strike="noStrike" cap="none" dirty="0">
              <a:latin typeface="Khmer OS System" panose="02000500000000020004" pitchFamily="2" charset="0"/>
              <a:ea typeface="Calibri"/>
              <a:cs typeface="Khmer OS System" panose="02000500000000020004" pitchFamily="2" charset="0"/>
              <a:sym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1E34E7A-336B-4015-BC19-F6F91306BB45}"/>
              </a:ext>
            </a:extLst>
          </p:cNvPr>
          <p:cNvSpPr txBox="1"/>
          <p:nvPr/>
        </p:nvSpPr>
        <p:spPr>
          <a:xfrm>
            <a:off x="311147" y="246221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m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km" sz="3200" b="1" i="0" u="none" spc="-40" dirty="0">
                <a:latin typeface="Khmer OS System" panose="02000500000000020004" pitchFamily="2" charset="0"/>
                <a:ea typeface="Calibri" panose="020F0502020204030204" pitchFamily="34" charset="0"/>
                <a:cs typeface="Khmer OS System" panose="02000500000000020004" pitchFamily="2" charset="0"/>
                <a:sym typeface="Calibri" panose="020F0502020204030204" pitchFamily="34" charset="0"/>
              </a:rPr>
              <a:t>តើមានសុវត្ថិភាពដូចម្តេច ប្រសិនបើវា​កើត​ឡើង​ឆាប់​រហ័ស​បែបនេះ​​?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B99654CB-F1B9-41E3-A169-339811ED5F54}" vid="{F40D82E9-5348-40C5-82A2-1CB421C2615D}"/>
    </a:ext>
  </a:extLst>
</a:theme>
</file>

<file path=ppt/theme/theme4.xml><?xml version="1.0" encoding="utf-8"?>
<a:theme xmlns:a="http://schemas.openxmlformats.org/drawingml/2006/main" name="Theme-Covid-Vax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-Covid-Vax" id="{A4F9C436-5CE2-42E5-9FB9-7895596584E5}" vid="{208FF17F-C249-4E4A-9551-A4B6FB3AA3A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80</TotalTime>
  <Words>5731</Words>
  <Application>Microsoft Office PowerPoint</Application>
  <PresentationFormat>Widescreen</PresentationFormat>
  <Paragraphs>270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7" baseType="lpstr">
      <vt:lpstr>Arial</vt:lpstr>
      <vt:lpstr>Calibri</vt:lpstr>
      <vt:lpstr>Calibri Light</vt:lpstr>
      <vt:lpstr>Courier New</vt:lpstr>
      <vt:lpstr>Kh Content</vt:lpstr>
      <vt:lpstr>Khmer OS System</vt:lpstr>
      <vt:lpstr>Noto Sans VF</vt:lpstr>
      <vt:lpstr>Open Sans</vt:lpstr>
      <vt:lpstr>Segoe UI</vt:lpstr>
      <vt:lpstr>Symbol</vt:lpstr>
      <vt:lpstr>Times New Roman</vt:lpstr>
      <vt:lpstr>Wingdings</vt:lpstr>
      <vt:lpstr>Office Theme</vt:lpstr>
      <vt:lpstr>1_Office Theme</vt:lpstr>
      <vt:lpstr>White</vt:lpstr>
      <vt:lpstr>Theme-Covid-Vax</vt:lpstr>
      <vt:lpstr>think-cell Slide</vt:lpstr>
      <vt:lpstr>PowerPoint Presentation</vt:lpstr>
      <vt:lpstr> ការណែនាំសម្រាប់​ការប្រើប្រាស់​សៀវភៅណែនាំ​នេះ​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តើខ្ញុំធ្វើការណាត់ជួប​ពិគ្រោះ​ដូចម្តេច​?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tler, Katie (DPH)</dc:creator>
  <cp:lastModifiedBy>TS Cambodia </cp:lastModifiedBy>
  <cp:revision>572</cp:revision>
  <dcterms:created xsi:type="dcterms:W3CDTF">2021-01-16T16:40:21Z</dcterms:created>
  <dcterms:modified xsi:type="dcterms:W3CDTF">2022-01-28T04:17:17Z</dcterms:modified>
</cp:coreProperties>
</file>